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</p:sldMasterIdLst>
  <p:notesMasterIdLst>
    <p:notesMasterId r:id="rId13"/>
  </p:notesMasterIdLst>
  <p:sldIdLst>
    <p:sldId id="256" r:id="rId3"/>
    <p:sldId id="342" r:id="rId4"/>
    <p:sldId id="273" r:id="rId5"/>
    <p:sldId id="339" r:id="rId6"/>
    <p:sldId id="340" r:id="rId7"/>
    <p:sldId id="341" r:id="rId8"/>
    <p:sldId id="338" r:id="rId9"/>
    <p:sldId id="343" r:id="rId10"/>
    <p:sldId id="344" r:id="rId11"/>
    <p:sldId id="345" r:id="rId1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66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55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61DD2A-D6A6-4594-AC06-E51FB9167D78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CF24AC-CB92-43F4-8370-CE77E945EC4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5455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CF24AC-CB92-43F4-8370-CE77E945EC45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08716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CF24AC-CB92-43F4-8370-CE77E945EC45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92283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CF24AC-CB92-43F4-8370-CE77E945EC45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9732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2" name="矩形 9791">
            <a:extLst>
              <a:ext uri="{FF2B5EF4-FFF2-40B4-BE49-F238E27FC236}">
                <a16:creationId xmlns:a16="http://schemas.microsoft.com/office/drawing/2014/main" xmlns="" id="{22211B81-DF9C-4635-BA56-35555599CC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xmlns="" id="{31DBFAA4-AC9F-4FAD-B778-21ACE40CC918}"/>
              </a:ext>
            </a:extLst>
          </p:cNvPr>
          <p:cNvGrpSpPr/>
          <p:nvPr userDrawn="1"/>
        </p:nvGrpSpPr>
        <p:grpSpPr>
          <a:xfrm>
            <a:off x="817563" y="3175000"/>
            <a:ext cx="10702925" cy="3683000"/>
            <a:chOff x="744538" y="1584325"/>
            <a:chExt cx="10702925" cy="3683000"/>
          </a:xfrm>
          <a:solidFill>
            <a:schemeClr val="bg1">
              <a:alpha val="17000"/>
            </a:schemeClr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7F6A65E-08CA-4A18-BE26-F171EB6CF5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46288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2978079F-4624-4021-9CA3-04942E3795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2063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6C74C47C-AA3E-45F9-B019-B490D1045C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86051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43987C17-9468-4F0A-B62A-148ED7CA5C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17851" y="4478338"/>
              <a:ext cx="103188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2D392D9A-7E47-44C0-B007-B673C443DF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73426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32CAD03A-4C0D-4EAA-9A26-C71629177F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699000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xmlns="" id="{F7134F00-5227-48E0-A1F0-563AB0FEA1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854575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xmlns="" id="{5470E1F3-ECB5-4218-BDCF-2E56412EBD1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663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Rectangle 13">
              <a:extLst>
                <a:ext uri="{FF2B5EF4-FFF2-40B4-BE49-F238E27FC236}">
                  <a16:creationId xmlns:a16="http://schemas.microsoft.com/office/drawing/2014/main" xmlns="" id="{86FBB4F4-A6AB-40FE-A0A6-FA31CB2D66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11651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Rectangle 14">
              <a:extLst>
                <a:ext uri="{FF2B5EF4-FFF2-40B4-BE49-F238E27FC236}">
                  <a16:creationId xmlns:a16="http://schemas.microsoft.com/office/drawing/2014/main" xmlns="" id="{BEC3C37F-A752-4F5B-B610-CC7E6EF1F9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86276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xmlns="" id="{0BDC3375-B3D3-467B-9086-8339FB6DD1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6418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Rectangle 16">
              <a:extLst>
                <a:ext uri="{FF2B5EF4-FFF2-40B4-BE49-F238E27FC236}">
                  <a16:creationId xmlns:a16="http://schemas.microsoft.com/office/drawing/2014/main" xmlns="" id="{68888DE7-1D00-4CE5-AAA0-C26EF0D2D7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816476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Rectangle 17">
              <a:extLst>
                <a:ext uri="{FF2B5EF4-FFF2-40B4-BE49-F238E27FC236}">
                  <a16:creationId xmlns:a16="http://schemas.microsoft.com/office/drawing/2014/main" xmlns="" id="{B0BC2A9D-A44C-4E66-BB5F-8C4502F795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720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Rectangle 18">
              <a:extLst>
                <a:ext uri="{FF2B5EF4-FFF2-40B4-BE49-F238E27FC236}">
                  <a16:creationId xmlns:a16="http://schemas.microsoft.com/office/drawing/2014/main" xmlns="" id="{98AE2389-3E02-4081-8DD7-04EA81E240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46676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Rectangle 19">
              <a:extLst>
                <a:ext uri="{FF2B5EF4-FFF2-40B4-BE49-F238E27FC236}">
                  <a16:creationId xmlns:a16="http://schemas.microsoft.com/office/drawing/2014/main" xmlns="" id="{5559C308-2BF5-4B7E-818F-CD1A7DD8B8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0663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Rectangle 20">
              <a:extLst>
                <a:ext uri="{FF2B5EF4-FFF2-40B4-BE49-F238E27FC236}">
                  <a16:creationId xmlns:a16="http://schemas.microsoft.com/office/drawing/2014/main" xmlns="" id="{5ECB3F3E-9BEE-4057-9589-4A20DB8F55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5288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Rectangle 21">
              <a:extLst>
                <a:ext uri="{FF2B5EF4-FFF2-40B4-BE49-F238E27FC236}">
                  <a16:creationId xmlns:a16="http://schemas.microsoft.com/office/drawing/2014/main" xmlns="" id="{20ADAC72-7ACB-472D-A047-4EAF78D451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4038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Rectangle 22">
              <a:extLst>
                <a:ext uri="{FF2B5EF4-FFF2-40B4-BE49-F238E27FC236}">
                  <a16:creationId xmlns:a16="http://schemas.microsoft.com/office/drawing/2014/main" xmlns="" id="{BBEDC840-FE57-4A8C-A8BB-6538FF6DC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8663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Rectangle 23">
              <a:extLst>
                <a:ext uri="{FF2B5EF4-FFF2-40B4-BE49-F238E27FC236}">
                  <a16:creationId xmlns:a16="http://schemas.microsoft.com/office/drawing/2014/main" xmlns="" id="{7519A4C1-179E-4584-816E-BB4E0B9490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64238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xmlns="" id="{E14551D9-01C2-49F5-A4A8-7A45471B0E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69551" y="2533650"/>
              <a:ext cx="661988" cy="777875"/>
            </a:xfrm>
            <a:custGeom>
              <a:avLst/>
              <a:gdLst>
                <a:gd name="T0" fmla="*/ 201 w 201"/>
                <a:gd name="T1" fmla="*/ 43 h 236"/>
                <a:gd name="T2" fmla="*/ 160 w 201"/>
                <a:gd name="T3" fmla="*/ 86 h 236"/>
                <a:gd name="T4" fmla="*/ 148 w 201"/>
                <a:gd name="T5" fmla="*/ 87 h 236"/>
                <a:gd name="T6" fmla="*/ 154 w 201"/>
                <a:gd name="T7" fmla="*/ 98 h 236"/>
                <a:gd name="T8" fmla="*/ 161 w 201"/>
                <a:gd name="T9" fmla="*/ 125 h 236"/>
                <a:gd name="T10" fmla="*/ 113 w 201"/>
                <a:gd name="T11" fmla="*/ 181 h 236"/>
                <a:gd name="T12" fmla="*/ 106 w 201"/>
                <a:gd name="T13" fmla="*/ 182 h 236"/>
                <a:gd name="T14" fmla="*/ 106 w 201"/>
                <a:gd name="T15" fmla="*/ 188 h 236"/>
                <a:gd name="T16" fmla="*/ 53 w 201"/>
                <a:gd name="T17" fmla="*/ 236 h 236"/>
                <a:gd name="T18" fmla="*/ 0 w 201"/>
                <a:gd name="T19" fmla="*/ 183 h 236"/>
                <a:gd name="T20" fmla="*/ 41 w 201"/>
                <a:gd name="T21" fmla="*/ 131 h 236"/>
                <a:gd name="T22" fmla="*/ 47 w 201"/>
                <a:gd name="T23" fmla="*/ 129 h 236"/>
                <a:gd name="T24" fmla="*/ 47 w 201"/>
                <a:gd name="T25" fmla="*/ 123 h 236"/>
                <a:gd name="T26" fmla="*/ 49 w 201"/>
                <a:gd name="T27" fmla="*/ 110 h 236"/>
                <a:gd name="T28" fmla="*/ 50 w 201"/>
                <a:gd name="T29" fmla="*/ 107 h 236"/>
                <a:gd name="T30" fmla="*/ 48 w 201"/>
                <a:gd name="T31" fmla="*/ 104 h 236"/>
                <a:gd name="T32" fmla="*/ 41 w 201"/>
                <a:gd name="T33" fmla="*/ 77 h 236"/>
                <a:gd name="T34" fmla="*/ 90 w 201"/>
                <a:gd name="T35" fmla="*/ 27 h 236"/>
                <a:gd name="T36" fmla="*/ 108 w 201"/>
                <a:gd name="T37" fmla="*/ 31 h 236"/>
                <a:gd name="T38" fmla="*/ 116 w 201"/>
                <a:gd name="T39" fmla="*/ 34 h 236"/>
                <a:gd name="T40" fmla="*/ 119 w 201"/>
                <a:gd name="T41" fmla="*/ 26 h 236"/>
                <a:gd name="T42" fmla="*/ 158 w 201"/>
                <a:gd name="T43" fmla="*/ 0 h 236"/>
                <a:gd name="T44" fmla="*/ 201 w 201"/>
                <a:gd name="T45" fmla="*/ 4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1" h="236">
                  <a:moveTo>
                    <a:pt x="201" y="43"/>
                  </a:moveTo>
                  <a:cubicBezTo>
                    <a:pt x="201" y="66"/>
                    <a:pt x="183" y="85"/>
                    <a:pt x="160" y="86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8" y="106"/>
                    <a:pt x="161" y="115"/>
                    <a:pt x="161" y="125"/>
                  </a:cubicBezTo>
                  <a:cubicBezTo>
                    <a:pt x="161" y="153"/>
                    <a:pt x="140" y="176"/>
                    <a:pt x="113" y="181"/>
                  </a:cubicBezTo>
                  <a:cubicBezTo>
                    <a:pt x="106" y="182"/>
                    <a:pt x="106" y="182"/>
                    <a:pt x="106" y="182"/>
                  </a:cubicBezTo>
                  <a:cubicBezTo>
                    <a:pt x="106" y="188"/>
                    <a:pt x="106" y="188"/>
                    <a:pt x="106" y="188"/>
                  </a:cubicBezTo>
                  <a:cubicBezTo>
                    <a:pt x="103" y="215"/>
                    <a:pt x="80" y="236"/>
                    <a:pt x="53" y="236"/>
                  </a:cubicBezTo>
                  <a:cubicBezTo>
                    <a:pt x="24" y="236"/>
                    <a:pt x="0" y="212"/>
                    <a:pt x="0" y="183"/>
                  </a:cubicBezTo>
                  <a:cubicBezTo>
                    <a:pt x="0" y="158"/>
                    <a:pt x="17" y="136"/>
                    <a:pt x="41" y="131"/>
                  </a:cubicBezTo>
                  <a:cubicBezTo>
                    <a:pt x="47" y="129"/>
                    <a:pt x="47" y="129"/>
                    <a:pt x="47" y="129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8" y="119"/>
                    <a:pt x="48" y="114"/>
                    <a:pt x="49" y="110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3" y="96"/>
                    <a:pt x="41" y="87"/>
                    <a:pt x="41" y="77"/>
                  </a:cubicBezTo>
                  <a:cubicBezTo>
                    <a:pt x="41" y="50"/>
                    <a:pt x="63" y="27"/>
                    <a:pt x="90" y="27"/>
                  </a:cubicBezTo>
                  <a:cubicBezTo>
                    <a:pt x="96" y="27"/>
                    <a:pt x="103" y="29"/>
                    <a:pt x="108" y="31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25" y="10"/>
                    <a:pt x="141" y="0"/>
                    <a:pt x="158" y="0"/>
                  </a:cubicBezTo>
                  <a:cubicBezTo>
                    <a:pt x="182" y="0"/>
                    <a:pt x="201" y="19"/>
                    <a:pt x="201" y="43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xmlns="" id="{14349970-D9D4-4DCF-B89C-B16F38C7C0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5363" y="1584325"/>
              <a:ext cx="1598613" cy="1150938"/>
            </a:xfrm>
            <a:custGeom>
              <a:avLst/>
              <a:gdLst>
                <a:gd name="T0" fmla="*/ 469 w 485"/>
                <a:gd name="T1" fmla="*/ 103 h 349"/>
                <a:gd name="T2" fmla="*/ 409 w 485"/>
                <a:gd name="T3" fmla="*/ 105 h 349"/>
                <a:gd name="T4" fmla="*/ 396 w 485"/>
                <a:gd name="T5" fmla="*/ 109 h 349"/>
                <a:gd name="T6" fmla="*/ 375 w 485"/>
                <a:gd name="T7" fmla="*/ 140 h 349"/>
                <a:gd name="T8" fmla="*/ 371 w 485"/>
                <a:gd name="T9" fmla="*/ 148 h 349"/>
                <a:gd name="T10" fmla="*/ 330 w 485"/>
                <a:gd name="T11" fmla="*/ 202 h 349"/>
                <a:gd name="T12" fmla="*/ 306 w 485"/>
                <a:gd name="T13" fmla="*/ 196 h 349"/>
                <a:gd name="T14" fmla="*/ 306 w 485"/>
                <a:gd name="T15" fmla="*/ 237 h 349"/>
                <a:gd name="T16" fmla="*/ 242 w 485"/>
                <a:gd name="T17" fmla="*/ 274 h 349"/>
                <a:gd name="T18" fmla="*/ 234 w 485"/>
                <a:gd name="T19" fmla="*/ 279 h 349"/>
                <a:gd name="T20" fmla="*/ 168 w 485"/>
                <a:gd name="T21" fmla="*/ 307 h 349"/>
                <a:gd name="T22" fmla="*/ 133 w 485"/>
                <a:gd name="T23" fmla="*/ 270 h 349"/>
                <a:gd name="T24" fmla="*/ 127 w 485"/>
                <a:gd name="T25" fmla="*/ 269 h 349"/>
                <a:gd name="T26" fmla="*/ 117 w 485"/>
                <a:gd name="T27" fmla="*/ 274 h 349"/>
                <a:gd name="T28" fmla="*/ 95 w 485"/>
                <a:gd name="T29" fmla="*/ 298 h 349"/>
                <a:gd name="T30" fmla="*/ 59 w 485"/>
                <a:gd name="T31" fmla="*/ 327 h 349"/>
                <a:gd name="T32" fmla="*/ 39 w 485"/>
                <a:gd name="T33" fmla="*/ 323 h 349"/>
                <a:gd name="T34" fmla="*/ 37 w 485"/>
                <a:gd name="T35" fmla="*/ 336 h 349"/>
                <a:gd name="T36" fmla="*/ 19 w 485"/>
                <a:gd name="T37" fmla="*/ 349 h 349"/>
                <a:gd name="T38" fmla="*/ 2 w 485"/>
                <a:gd name="T39" fmla="*/ 338 h 349"/>
                <a:gd name="T40" fmla="*/ 17 w 485"/>
                <a:gd name="T41" fmla="*/ 311 h 349"/>
                <a:gd name="T42" fmla="*/ 24 w 485"/>
                <a:gd name="T43" fmla="*/ 301 h 349"/>
                <a:gd name="T44" fmla="*/ 24 w 485"/>
                <a:gd name="T45" fmla="*/ 281 h 349"/>
                <a:gd name="T46" fmla="*/ 18 w 485"/>
                <a:gd name="T47" fmla="*/ 235 h 349"/>
                <a:gd name="T48" fmla="*/ 74 w 485"/>
                <a:gd name="T49" fmla="*/ 199 h 349"/>
                <a:gd name="T50" fmla="*/ 82 w 485"/>
                <a:gd name="T51" fmla="*/ 194 h 349"/>
                <a:gd name="T52" fmla="*/ 90 w 485"/>
                <a:gd name="T53" fmla="*/ 179 h 349"/>
                <a:gd name="T54" fmla="*/ 91 w 485"/>
                <a:gd name="T55" fmla="*/ 148 h 349"/>
                <a:gd name="T56" fmla="*/ 154 w 485"/>
                <a:gd name="T57" fmla="*/ 117 h 349"/>
                <a:gd name="T58" fmla="*/ 176 w 485"/>
                <a:gd name="T59" fmla="*/ 131 h 349"/>
                <a:gd name="T60" fmla="*/ 206 w 485"/>
                <a:gd name="T61" fmla="*/ 111 h 349"/>
                <a:gd name="T62" fmla="*/ 212 w 485"/>
                <a:gd name="T63" fmla="*/ 103 h 349"/>
                <a:gd name="T64" fmla="*/ 265 w 485"/>
                <a:gd name="T65" fmla="*/ 46 h 349"/>
                <a:gd name="T66" fmla="*/ 298 w 485"/>
                <a:gd name="T67" fmla="*/ 57 h 349"/>
                <a:gd name="T68" fmla="*/ 313 w 485"/>
                <a:gd name="T69" fmla="*/ 45 h 349"/>
                <a:gd name="T70" fmla="*/ 317 w 485"/>
                <a:gd name="T71" fmla="*/ 40 h 349"/>
                <a:gd name="T72" fmla="*/ 366 w 485"/>
                <a:gd name="T73" fmla="*/ 0 h 349"/>
                <a:gd name="T74" fmla="*/ 411 w 485"/>
                <a:gd name="T75" fmla="*/ 30 h 349"/>
                <a:gd name="T76" fmla="*/ 421 w 485"/>
                <a:gd name="T77" fmla="*/ 34 h 349"/>
                <a:gd name="T78" fmla="*/ 468 w 485"/>
                <a:gd name="T79" fmla="*/ 4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5" h="349">
                  <a:moveTo>
                    <a:pt x="468" y="42"/>
                  </a:moveTo>
                  <a:cubicBezTo>
                    <a:pt x="485" y="59"/>
                    <a:pt x="485" y="86"/>
                    <a:pt x="469" y="103"/>
                  </a:cubicBezTo>
                  <a:cubicBezTo>
                    <a:pt x="461" y="112"/>
                    <a:pt x="450" y="116"/>
                    <a:pt x="438" y="116"/>
                  </a:cubicBezTo>
                  <a:cubicBezTo>
                    <a:pt x="427" y="116"/>
                    <a:pt x="417" y="112"/>
                    <a:pt x="409" y="105"/>
                  </a:cubicBezTo>
                  <a:cubicBezTo>
                    <a:pt x="400" y="97"/>
                    <a:pt x="400" y="97"/>
                    <a:pt x="400" y="97"/>
                  </a:cubicBezTo>
                  <a:cubicBezTo>
                    <a:pt x="396" y="109"/>
                    <a:pt x="396" y="109"/>
                    <a:pt x="396" y="109"/>
                  </a:cubicBezTo>
                  <a:cubicBezTo>
                    <a:pt x="394" y="118"/>
                    <a:pt x="389" y="126"/>
                    <a:pt x="383" y="133"/>
                  </a:cubicBezTo>
                  <a:cubicBezTo>
                    <a:pt x="380" y="136"/>
                    <a:pt x="378" y="138"/>
                    <a:pt x="375" y="140"/>
                  </a:cubicBezTo>
                  <a:cubicBezTo>
                    <a:pt x="370" y="143"/>
                    <a:pt x="370" y="143"/>
                    <a:pt x="370" y="143"/>
                  </a:cubicBezTo>
                  <a:cubicBezTo>
                    <a:pt x="371" y="148"/>
                    <a:pt x="371" y="148"/>
                    <a:pt x="371" y="148"/>
                  </a:cubicBezTo>
                  <a:cubicBezTo>
                    <a:pt x="373" y="156"/>
                    <a:pt x="373" y="165"/>
                    <a:pt x="370" y="172"/>
                  </a:cubicBezTo>
                  <a:cubicBezTo>
                    <a:pt x="365" y="190"/>
                    <a:pt x="348" y="202"/>
                    <a:pt x="330" y="202"/>
                  </a:cubicBezTo>
                  <a:cubicBezTo>
                    <a:pt x="326" y="202"/>
                    <a:pt x="322" y="201"/>
                    <a:pt x="318" y="200"/>
                  </a:cubicBezTo>
                  <a:cubicBezTo>
                    <a:pt x="306" y="196"/>
                    <a:pt x="306" y="196"/>
                    <a:pt x="306" y="196"/>
                  </a:cubicBezTo>
                  <a:cubicBezTo>
                    <a:pt x="308" y="209"/>
                    <a:pt x="308" y="209"/>
                    <a:pt x="308" y="209"/>
                  </a:cubicBezTo>
                  <a:cubicBezTo>
                    <a:pt x="309" y="218"/>
                    <a:pt x="309" y="228"/>
                    <a:pt x="306" y="237"/>
                  </a:cubicBezTo>
                  <a:cubicBezTo>
                    <a:pt x="298" y="260"/>
                    <a:pt x="276" y="275"/>
                    <a:pt x="252" y="275"/>
                  </a:cubicBezTo>
                  <a:cubicBezTo>
                    <a:pt x="249" y="275"/>
                    <a:pt x="246" y="275"/>
                    <a:pt x="242" y="274"/>
                  </a:cubicBezTo>
                  <a:cubicBezTo>
                    <a:pt x="236" y="273"/>
                    <a:pt x="236" y="273"/>
                    <a:pt x="236" y="273"/>
                  </a:cubicBezTo>
                  <a:cubicBezTo>
                    <a:pt x="234" y="279"/>
                    <a:pt x="234" y="279"/>
                    <a:pt x="234" y="279"/>
                  </a:cubicBezTo>
                  <a:cubicBezTo>
                    <a:pt x="225" y="298"/>
                    <a:pt x="206" y="310"/>
                    <a:pt x="185" y="310"/>
                  </a:cubicBezTo>
                  <a:cubicBezTo>
                    <a:pt x="179" y="310"/>
                    <a:pt x="174" y="309"/>
                    <a:pt x="168" y="307"/>
                  </a:cubicBezTo>
                  <a:cubicBezTo>
                    <a:pt x="153" y="302"/>
                    <a:pt x="141" y="290"/>
                    <a:pt x="135" y="275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8" y="269"/>
                    <a:pt x="127" y="269"/>
                    <a:pt x="127" y="269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17" y="274"/>
                    <a:pt x="117" y="274"/>
                    <a:pt x="117" y="274"/>
                  </a:cubicBezTo>
                  <a:cubicBezTo>
                    <a:pt x="113" y="283"/>
                    <a:pt x="106" y="291"/>
                    <a:pt x="97" y="296"/>
                  </a:cubicBezTo>
                  <a:cubicBezTo>
                    <a:pt x="95" y="298"/>
                    <a:pt x="95" y="298"/>
                    <a:pt x="95" y="298"/>
                  </a:cubicBezTo>
                  <a:cubicBezTo>
                    <a:pt x="93" y="302"/>
                    <a:pt x="93" y="302"/>
                    <a:pt x="93" y="302"/>
                  </a:cubicBezTo>
                  <a:cubicBezTo>
                    <a:pt x="88" y="317"/>
                    <a:pt x="75" y="327"/>
                    <a:pt x="59" y="327"/>
                  </a:cubicBezTo>
                  <a:cubicBezTo>
                    <a:pt x="55" y="327"/>
                    <a:pt x="52" y="326"/>
                    <a:pt x="48" y="325"/>
                  </a:cubicBezTo>
                  <a:cubicBezTo>
                    <a:pt x="39" y="323"/>
                    <a:pt x="39" y="323"/>
                    <a:pt x="39" y="323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38" y="333"/>
                    <a:pt x="38" y="335"/>
                    <a:pt x="37" y="336"/>
                  </a:cubicBezTo>
                  <a:cubicBezTo>
                    <a:pt x="36" y="340"/>
                    <a:pt x="33" y="343"/>
                    <a:pt x="30" y="345"/>
                  </a:cubicBezTo>
                  <a:cubicBezTo>
                    <a:pt x="27" y="347"/>
                    <a:pt x="23" y="349"/>
                    <a:pt x="19" y="349"/>
                  </a:cubicBezTo>
                  <a:cubicBezTo>
                    <a:pt x="17" y="349"/>
                    <a:pt x="15" y="348"/>
                    <a:pt x="13" y="348"/>
                  </a:cubicBezTo>
                  <a:cubicBezTo>
                    <a:pt x="9" y="346"/>
                    <a:pt x="5" y="343"/>
                    <a:pt x="2" y="338"/>
                  </a:cubicBezTo>
                  <a:cubicBezTo>
                    <a:pt x="0" y="334"/>
                    <a:pt x="0" y="328"/>
                    <a:pt x="1" y="324"/>
                  </a:cubicBezTo>
                  <a:cubicBezTo>
                    <a:pt x="4" y="317"/>
                    <a:pt x="10" y="312"/>
                    <a:pt x="17" y="311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4" y="301"/>
                    <a:pt x="24" y="301"/>
                    <a:pt x="24" y="301"/>
                  </a:cubicBezTo>
                  <a:cubicBezTo>
                    <a:pt x="22" y="295"/>
                    <a:pt x="22" y="289"/>
                    <a:pt x="23" y="284"/>
                  </a:cubicBezTo>
                  <a:cubicBezTo>
                    <a:pt x="24" y="281"/>
                    <a:pt x="24" y="281"/>
                    <a:pt x="24" y="281"/>
                  </a:cubicBezTo>
                  <a:cubicBezTo>
                    <a:pt x="22" y="278"/>
                    <a:pt x="22" y="278"/>
                    <a:pt x="22" y="278"/>
                  </a:cubicBezTo>
                  <a:cubicBezTo>
                    <a:pt x="15" y="265"/>
                    <a:pt x="13" y="249"/>
                    <a:pt x="18" y="235"/>
                  </a:cubicBezTo>
                  <a:cubicBezTo>
                    <a:pt x="25" y="213"/>
                    <a:pt x="46" y="198"/>
                    <a:pt x="68" y="198"/>
                  </a:cubicBezTo>
                  <a:cubicBezTo>
                    <a:pt x="70" y="198"/>
                    <a:pt x="72" y="199"/>
                    <a:pt x="74" y="199"/>
                  </a:cubicBezTo>
                  <a:cubicBezTo>
                    <a:pt x="80" y="199"/>
                    <a:pt x="80" y="199"/>
                    <a:pt x="80" y="199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4" y="190"/>
                    <a:pt x="86" y="186"/>
                    <a:pt x="88" y="182"/>
                  </a:cubicBezTo>
                  <a:cubicBezTo>
                    <a:pt x="90" y="179"/>
                    <a:pt x="90" y="179"/>
                    <a:pt x="90" y="179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7" y="166"/>
                    <a:pt x="88" y="157"/>
                    <a:pt x="91" y="148"/>
                  </a:cubicBezTo>
                  <a:cubicBezTo>
                    <a:pt x="97" y="128"/>
                    <a:pt x="116" y="114"/>
                    <a:pt x="138" y="114"/>
                  </a:cubicBezTo>
                  <a:cubicBezTo>
                    <a:pt x="143" y="114"/>
                    <a:pt x="149" y="115"/>
                    <a:pt x="154" y="117"/>
                  </a:cubicBezTo>
                  <a:cubicBezTo>
                    <a:pt x="160" y="119"/>
                    <a:pt x="165" y="122"/>
                    <a:pt x="170" y="126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1" y="125"/>
                    <a:pt x="181" y="125"/>
                    <a:pt x="181" y="125"/>
                  </a:cubicBezTo>
                  <a:cubicBezTo>
                    <a:pt x="187" y="118"/>
                    <a:pt x="196" y="113"/>
                    <a:pt x="206" y="111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2" y="103"/>
                    <a:pt x="212" y="103"/>
                    <a:pt x="212" y="103"/>
                  </a:cubicBezTo>
                  <a:cubicBezTo>
                    <a:pt x="211" y="88"/>
                    <a:pt x="217" y="73"/>
                    <a:pt x="227" y="62"/>
                  </a:cubicBezTo>
                  <a:cubicBezTo>
                    <a:pt x="237" y="52"/>
                    <a:pt x="251" y="46"/>
                    <a:pt x="265" y="46"/>
                  </a:cubicBezTo>
                  <a:cubicBezTo>
                    <a:pt x="275" y="46"/>
                    <a:pt x="285" y="49"/>
                    <a:pt x="293" y="54"/>
                  </a:cubicBezTo>
                  <a:cubicBezTo>
                    <a:pt x="298" y="57"/>
                    <a:pt x="298" y="57"/>
                    <a:pt x="298" y="57"/>
                  </a:cubicBezTo>
                  <a:cubicBezTo>
                    <a:pt x="303" y="53"/>
                    <a:pt x="303" y="53"/>
                    <a:pt x="303" y="53"/>
                  </a:cubicBezTo>
                  <a:cubicBezTo>
                    <a:pt x="306" y="50"/>
                    <a:pt x="309" y="47"/>
                    <a:pt x="313" y="45"/>
                  </a:cubicBezTo>
                  <a:cubicBezTo>
                    <a:pt x="316" y="43"/>
                    <a:pt x="316" y="43"/>
                    <a:pt x="316" y="43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19" y="31"/>
                    <a:pt x="323" y="22"/>
                    <a:pt x="330" y="15"/>
                  </a:cubicBezTo>
                  <a:cubicBezTo>
                    <a:pt x="339" y="6"/>
                    <a:pt x="352" y="0"/>
                    <a:pt x="366" y="0"/>
                  </a:cubicBezTo>
                  <a:cubicBezTo>
                    <a:pt x="379" y="0"/>
                    <a:pt x="391" y="5"/>
                    <a:pt x="400" y="14"/>
                  </a:cubicBezTo>
                  <a:cubicBezTo>
                    <a:pt x="405" y="19"/>
                    <a:pt x="408" y="24"/>
                    <a:pt x="411" y="30"/>
                  </a:cubicBezTo>
                  <a:cubicBezTo>
                    <a:pt x="414" y="37"/>
                    <a:pt x="414" y="37"/>
                    <a:pt x="414" y="37"/>
                  </a:cubicBezTo>
                  <a:cubicBezTo>
                    <a:pt x="421" y="34"/>
                    <a:pt x="421" y="34"/>
                    <a:pt x="421" y="34"/>
                  </a:cubicBezTo>
                  <a:cubicBezTo>
                    <a:pt x="427" y="31"/>
                    <a:pt x="432" y="30"/>
                    <a:pt x="438" y="30"/>
                  </a:cubicBezTo>
                  <a:cubicBezTo>
                    <a:pt x="449" y="30"/>
                    <a:pt x="460" y="35"/>
                    <a:pt x="468" y="42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Rectangle 26">
              <a:extLst>
                <a:ext uri="{FF2B5EF4-FFF2-40B4-BE49-F238E27FC236}">
                  <a16:creationId xmlns:a16="http://schemas.microsoft.com/office/drawing/2014/main" xmlns="" id="{18B3AF1B-B436-4804-896F-B47F18ED67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92301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xmlns="" id="{54846F54-2664-41F1-89B3-D6A85FED0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538" y="2444750"/>
              <a:ext cx="10702925" cy="2822575"/>
            </a:xfrm>
            <a:custGeom>
              <a:avLst/>
              <a:gdLst>
                <a:gd name="T0" fmla="*/ 87 w 3246"/>
                <a:gd name="T1" fmla="*/ 244 h 856"/>
                <a:gd name="T2" fmla="*/ 192 w 3246"/>
                <a:gd name="T3" fmla="*/ 236 h 856"/>
                <a:gd name="T4" fmla="*/ 302 w 3246"/>
                <a:gd name="T5" fmla="*/ 527 h 856"/>
                <a:gd name="T6" fmla="*/ 859 w 3246"/>
                <a:gd name="T7" fmla="*/ 473 h 856"/>
                <a:gd name="T8" fmla="*/ 1099 w 3246"/>
                <a:gd name="T9" fmla="*/ 441 h 856"/>
                <a:gd name="T10" fmla="*/ 1116 w 3246"/>
                <a:gd name="T11" fmla="*/ 216 h 856"/>
                <a:gd name="T12" fmla="*/ 1164 w 3246"/>
                <a:gd name="T13" fmla="*/ 441 h 856"/>
                <a:gd name="T14" fmla="*/ 1312 w 3246"/>
                <a:gd name="T15" fmla="*/ 441 h 856"/>
                <a:gd name="T16" fmla="*/ 1358 w 3246"/>
                <a:gd name="T17" fmla="*/ 105 h 856"/>
                <a:gd name="T18" fmla="*/ 1378 w 3246"/>
                <a:gd name="T19" fmla="*/ 441 h 856"/>
                <a:gd name="T20" fmla="*/ 1526 w 3246"/>
                <a:gd name="T21" fmla="*/ 14 h 856"/>
                <a:gd name="T22" fmla="*/ 1568 w 3246"/>
                <a:gd name="T23" fmla="*/ 10 h 856"/>
                <a:gd name="T24" fmla="*/ 1596 w 3246"/>
                <a:gd name="T25" fmla="*/ 573 h 856"/>
                <a:gd name="T26" fmla="*/ 1828 w 3246"/>
                <a:gd name="T27" fmla="*/ 684 h 856"/>
                <a:gd name="T28" fmla="*/ 1877 w 3246"/>
                <a:gd name="T29" fmla="*/ 495 h 856"/>
                <a:gd name="T30" fmla="*/ 1876 w 3246"/>
                <a:gd name="T31" fmla="*/ 300 h 856"/>
                <a:gd name="T32" fmla="*/ 1974 w 3246"/>
                <a:gd name="T33" fmla="*/ 207 h 856"/>
                <a:gd name="T34" fmla="*/ 2071 w 3246"/>
                <a:gd name="T35" fmla="*/ 484 h 856"/>
                <a:gd name="T36" fmla="*/ 2035 w 3246"/>
                <a:gd name="T37" fmla="*/ 554 h 856"/>
                <a:gd name="T38" fmla="*/ 2220 w 3246"/>
                <a:gd name="T39" fmla="*/ 624 h 856"/>
                <a:gd name="T40" fmla="*/ 2300 w 3246"/>
                <a:gd name="T41" fmla="*/ 490 h 856"/>
                <a:gd name="T42" fmla="*/ 2432 w 3246"/>
                <a:gd name="T43" fmla="*/ 450 h 856"/>
                <a:gd name="T44" fmla="*/ 2631 w 3246"/>
                <a:gd name="T45" fmla="*/ 729 h 856"/>
                <a:gd name="T46" fmla="*/ 2872 w 3246"/>
                <a:gd name="T47" fmla="*/ 443 h 856"/>
                <a:gd name="T48" fmla="*/ 2875 w 3246"/>
                <a:gd name="T49" fmla="*/ 395 h 856"/>
                <a:gd name="T50" fmla="*/ 3036 w 3246"/>
                <a:gd name="T51" fmla="*/ 350 h 856"/>
                <a:gd name="T52" fmla="*/ 3027 w 3246"/>
                <a:gd name="T53" fmla="*/ 410 h 856"/>
                <a:gd name="T54" fmla="*/ 3236 w 3246"/>
                <a:gd name="T55" fmla="*/ 837 h 856"/>
                <a:gd name="T56" fmla="*/ 3237 w 3246"/>
                <a:gd name="T57" fmla="*/ 829 h 856"/>
                <a:gd name="T58" fmla="*/ 3036 w 3246"/>
                <a:gd name="T59" fmla="*/ 432 h 856"/>
                <a:gd name="T60" fmla="*/ 3035 w 3246"/>
                <a:gd name="T61" fmla="*/ 410 h 856"/>
                <a:gd name="T62" fmla="*/ 3035 w 3246"/>
                <a:gd name="T63" fmla="*/ 378 h 856"/>
                <a:gd name="T64" fmla="*/ 2857 w 3246"/>
                <a:gd name="T65" fmla="*/ 358 h 856"/>
                <a:gd name="T66" fmla="*/ 2867 w 3246"/>
                <a:gd name="T67" fmla="*/ 390 h 856"/>
                <a:gd name="T68" fmla="*/ 2862 w 3246"/>
                <a:gd name="T69" fmla="*/ 425 h 856"/>
                <a:gd name="T70" fmla="*/ 2741 w 3246"/>
                <a:gd name="T71" fmla="*/ 829 h 856"/>
                <a:gd name="T72" fmla="*/ 2480 w 3246"/>
                <a:gd name="T73" fmla="*/ 616 h 856"/>
                <a:gd name="T74" fmla="*/ 2385 w 3246"/>
                <a:gd name="T75" fmla="*/ 490 h 856"/>
                <a:gd name="T76" fmla="*/ 2259 w 3246"/>
                <a:gd name="T77" fmla="*/ 442 h 856"/>
                <a:gd name="T78" fmla="*/ 2158 w 3246"/>
                <a:gd name="T79" fmla="*/ 676 h 856"/>
                <a:gd name="T80" fmla="*/ 2044 w 3246"/>
                <a:gd name="T81" fmla="*/ 549 h 856"/>
                <a:gd name="T82" fmla="*/ 2069 w 3246"/>
                <a:gd name="T83" fmla="*/ 458 h 856"/>
                <a:gd name="T84" fmla="*/ 2069 w 3246"/>
                <a:gd name="T85" fmla="*/ 300 h 856"/>
                <a:gd name="T86" fmla="*/ 1957 w 3246"/>
                <a:gd name="T87" fmla="*/ 200 h 856"/>
                <a:gd name="T88" fmla="*/ 1866 w 3246"/>
                <a:gd name="T89" fmla="*/ 372 h 856"/>
                <a:gd name="T90" fmla="*/ 1868 w 3246"/>
                <a:gd name="T91" fmla="*/ 492 h 856"/>
                <a:gd name="T92" fmla="*/ 1827 w 3246"/>
                <a:gd name="T93" fmla="*/ 675 h 856"/>
                <a:gd name="T94" fmla="*/ 1694 w 3246"/>
                <a:gd name="T95" fmla="*/ 565 h 856"/>
                <a:gd name="T96" fmla="*/ 1570 w 3246"/>
                <a:gd name="T97" fmla="*/ 18 h 856"/>
                <a:gd name="T98" fmla="*/ 1515 w 3246"/>
                <a:gd name="T99" fmla="*/ 19 h 856"/>
                <a:gd name="T100" fmla="*/ 1396 w 3246"/>
                <a:gd name="T101" fmla="*/ 565 h 856"/>
                <a:gd name="T102" fmla="*/ 1368 w 3246"/>
                <a:gd name="T103" fmla="*/ 107 h 856"/>
                <a:gd name="T104" fmla="*/ 1311 w 3246"/>
                <a:gd name="T105" fmla="*/ 117 h 856"/>
                <a:gd name="T106" fmla="*/ 1187 w 3246"/>
                <a:gd name="T107" fmla="*/ 433 h 856"/>
                <a:gd name="T108" fmla="*/ 1165 w 3246"/>
                <a:gd name="T109" fmla="*/ 208 h 856"/>
                <a:gd name="T110" fmla="*/ 1111 w 3246"/>
                <a:gd name="T111" fmla="*/ 433 h 856"/>
                <a:gd name="T112" fmla="*/ 867 w 3246"/>
                <a:gd name="T113" fmla="*/ 684 h 856"/>
                <a:gd name="T114" fmla="*/ 486 w 3246"/>
                <a:gd name="T115" fmla="*/ 463 h 856"/>
                <a:gd name="T116" fmla="*/ 200 w 3246"/>
                <a:gd name="T117" fmla="*/ 236 h 856"/>
                <a:gd name="T118" fmla="*/ 62 w 3246"/>
                <a:gd name="T119" fmla="*/ 723 h 856"/>
                <a:gd name="T120" fmla="*/ 0 w 3246"/>
                <a:gd name="T121" fmla="*/ 771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46" h="856">
                  <a:moveTo>
                    <a:pt x="8" y="776"/>
                  </a:moveTo>
                  <a:cubicBezTo>
                    <a:pt x="9" y="725"/>
                    <a:pt x="9" y="725"/>
                    <a:pt x="9" y="725"/>
                  </a:cubicBezTo>
                  <a:cubicBezTo>
                    <a:pt x="16" y="726"/>
                    <a:pt x="33" y="728"/>
                    <a:pt x="65" y="731"/>
                  </a:cubicBezTo>
                  <a:cubicBezTo>
                    <a:pt x="69" y="732"/>
                    <a:pt x="69" y="732"/>
                    <a:pt x="69" y="732"/>
                  </a:cubicBezTo>
                  <a:cubicBezTo>
                    <a:pt x="87" y="244"/>
                    <a:pt x="87" y="244"/>
                    <a:pt x="87" y="244"/>
                  </a:cubicBezTo>
                  <a:cubicBezTo>
                    <a:pt x="80" y="244"/>
                    <a:pt x="80" y="244"/>
                    <a:pt x="80" y="244"/>
                  </a:cubicBezTo>
                  <a:cubicBezTo>
                    <a:pt x="76" y="244"/>
                    <a:pt x="73" y="240"/>
                    <a:pt x="73" y="236"/>
                  </a:cubicBezTo>
                  <a:cubicBezTo>
                    <a:pt x="73" y="232"/>
                    <a:pt x="76" y="229"/>
                    <a:pt x="80" y="229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88" y="229"/>
                    <a:pt x="192" y="232"/>
                    <a:pt x="192" y="236"/>
                  </a:cubicBezTo>
                  <a:cubicBezTo>
                    <a:pt x="192" y="240"/>
                    <a:pt x="188" y="244"/>
                    <a:pt x="184" y="244"/>
                  </a:cubicBezTo>
                  <a:cubicBezTo>
                    <a:pt x="176" y="244"/>
                    <a:pt x="176" y="244"/>
                    <a:pt x="176" y="244"/>
                  </a:cubicBezTo>
                  <a:cubicBezTo>
                    <a:pt x="191" y="692"/>
                    <a:pt x="191" y="692"/>
                    <a:pt x="191" y="692"/>
                  </a:cubicBezTo>
                  <a:cubicBezTo>
                    <a:pt x="302" y="692"/>
                    <a:pt x="302" y="692"/>
                    <a:pt x="302" y="692"/>
                  </a:cubicBezTo>
                  <a:cubicBezTo>
                    <a:pt x="302" y="527"/>
                    <a:pt x="302" y="527"/>
                    <a:pt x="302" y="527"/>
                  </a:cubicBezTo>
                  <a:cubicBezTo>
                    <a:pt x="478" y="473"/>
                    <a:pt x="478" y="473"/>
                    <a:pt x="478" y="473"/>
                  </a:cubicBezTo>
                  <a:cubicBezTo>
                    <a:pt x="478" y="531"/>
                    <a:pt x="478" y="531"/>
                    <a:pt x="478" y="531"/>
                  </a:cubicBezTo>
                  <a:cubicBezTo>
                    <a:pt x="669" y="473"/>
                    <a:pt x="669" y="473"/>
                    <a:pt x="669" y="473"/>
                  </a:cubicBezTo>
                  <a:cubicBezTo>
                    <a:pt x="669" y="531"/>
                    <a:pt x="669" y="531"/>
                    <a:pt x="669" y="531"/>
                  </a:cubicBezTo>
                  <a:cubicBezTo>
                    <a:pt x="859" y="473"/>
                    <a:pt x="859" y="473"/>
                    <a:pt x="859" y="473"/>
                  </a:cubicBezTo>
                  <a:cubicBezTo>
                    <a:pt x="859" y="692"/>
                    <a:pt x="859" y="692"/>
                    <a:pt x="859" y="692"/>
                  </a:cubicBezTo>
                  <a:cubicBezTo>
                    <a:pt x="981" y="698"/>
                    <a:pt x="981" y="698"/>
                    <a:pt x="981" y="698"/>
                  </a:cubicBezTo>
                  <a:cubicBezTo>
                    <a:pt x="981" y="573"/>
                    <a:pt x="981" y="573"/>
                    <a:pt x="981" y="573"/>
                  </a:cubicBezTo>
                  <a:cubicBezTo>
                    <a:pt x="1085" y="573"/>
                    <a:pt x="1085" y="573"/>
                    <a:pt x="1085" y="573"/>
                  </a:cubicBezTo>
                  <a:cubicBezTo>
                    <a:pt x="1099" y="441"/>
                    <a:pt x="1099" y="441"/>
                    <a:pt x="1099" y="441"/>
                  </a:cubicBezTo>
                  <a:cubicBezTo>
                    <a:pt x="1118" y="441"/>
                    <a:pt x="1118" y="441"/>
                    <a:pt x="1118" y="441"/>
                  </a:cubicBezTo>
                  <a:cubicBezTo>
                    <a:pt x="1125" y="222"/>
                    <a:pt x="1125" y="222"/>
                    <a:pt x="1125" y="222"/>
                  </a:cubicBezTo>
                  <a:cubicBezTo>
                    <a:pt x="1116" y="220"/>
                    <a:pt x="1116" y="220"/>
                    <a:pt x="1116" y="220"/>
                  </a:cubicBezTo>
                  <a:cubicBezTo>
                    <a:pt x="1115" y="219"/>
                    <a:pt x="1115" y="219"/>
                    <a:pt x="1115" y="218"/>
                  </a:cubicBezTo>
                  <a:cubicBezTo>
                    <a:pt x="1115" y="217"/>
                    <a:pt x="1115" y="216"/>
                    <a:pt x="1116" y="216"/>
                  </a:cubicBezTo>
                  <a:cubicBezTo>
                    <a:pt x="1165" y="216"/>
                    <a:pt x="1165" y="216"/>
                    <a:pt x="1165" y="216"/>
                  </a:cubicBezTo>
                  <a:cubicBezTo>
                    <a:pt x="1166" y="216"/>
                    <a:pt x="1167" y="217"/>
                    <a:pt x="1167" y="218"/>
                  </a:cubicBezTo>
                  <a:cubicBezTo>
                    <a:pt x="1167" y="219"/>
                    <a:pt x="1166" y="219"/>
                    <a:pt x="1166" y="220"/>
                  </a:cubicBezTo>
                  <a:cubicBezTo>
                    <a:pt x="1159" y="223"/>
                    <a:pt x="1159" y="223"/>
                    <a:pt x="1159" y="223"/>
                  </a:cubicBezTo>
                  <a:cubicBezTo>
                    <a:pt x="1164" y="441"/>
                    <a:pt x="1164" y="441"/>
                    <a:pt x="1164" y="441"/>
                  </a:cubicBezTo>
                  <a:cubicBezTo>
                    <a:pt x="1179" y="441"/>
                    <a:pt x="1179" y="441"/>
                    <a:pt x="1179" y="441"/>
                  </a:cubicBezTo>
                  <a:cubicBezTo>
                    <a:pt x="1190" y="573"/>
                    <a:pt x="1190" y="573"/>
                    <a:pt x="1190" y="573"/>
                  </a:cubicBezTo>
                  <a:cubicBezTo>
                    <a:pt x="1284" y="573"/>
                    <a:pt x="1284" y="573"/>
                    <a:pt x="1284" y="573"/>
                  </a:cubicBezTo>
                  <a:cubicBezTo>
                    <a:pt x="1298" y="441"/>
                    <a:pt x="1298" y="441"/>
                    <a:pt x="1298" y="441"/>
                  </a:cubicBezTo>
                  <a:cubicBezTo>
                    <a:pt x="1312" y="441"/>
                    <a:pt x="1312" y="441"/>
                    <a:pt x="1312" y="441"/>
                  </a:cubicBezTo>
                  <a:cubicBezTo>
                    <a:pt x="1319" y="110"/>
                    <a:pt x="1319" y="110"/>
                    <a:pt x="1319" y="110"/>
                  </a:cubicBezTo>
                  <a:cubicBezTo>
                    <a:pt x="1309" y="108"/>
                    <a:pt x="1309" y="108"/>
                    <a:pt x="1309" y="108"/>
                  </a:cubicBezTo>
                  <a:cubicBezTo>
                    <a:pt x="1308" y="108"/>
                    <a:pt x="1308" y="107"/>
                    <a:pt x="1308" y="107"/>
                  </a:cubicBezTo>
                  <a:cubicBezTo>
                    <a:pt x="1308" y="106"/>
                    <a:pt x="1308" y="105"/>
                    <a:pt x="1309" y="105"/>
                  </a:cubicBezTo>
                  <a:cubicBezTo>
                    <a:pt x="1358" y="105"/>
                    <a:pt x="1358" y="105"/>
                    <a:pt x="1358" y="105"/>
                  </a:cubicBezTo>
                  <a:cubicBezTo>
                    <a:pt x="1359" y="105"/>
                    <a:pt x="1360" y="106"/>
                    <a:pt x="1360" y="107"/>
                  </a:cubicBezTo>
                  <a:cubicBezTo>
                    <a:pt x="1360" y="107"/>
                    <a:pt x="1359" y="108"/>
                    <a:pt x="1359" y="108"/>
                  </a:cubicBezTo>
                  <a:cubicBezTo>
                    <a:pt x="1353" y="112"/>
                    <a:pt x="1353" y="112"/>
                    <a:pt x="1353" y="112"/>
                  </a:cubicBezTo>
                  <a:cubicBezTo>
                    <a:pt x="1359" y="441"/>
                    <a:pt x="1359" y="441"/>
                    <a:pt x="1359" y="441"/>
                  </a:cubicBezTo>
                  <a:cubicBezTo>
                    <a:pt x="1378" y="441"/>
                    <a:pt x="1378" y="441"/>
                    <a:pt x="1378" y="441"/>
                  </a:cubicBezTo>
                  <a:cubicBezTo>
                    <a:pt x="1389" y="573"/>
                    <a:pt x="1389" y="573"/>
                    <a:pt x="1389" y="573"/>
                  </a:cubicBezTo>
                  <a:cubicBezTo>
                    <a:pt x="1491" y="573"/>
                    <a:pt x="1491" y="573"/>
                    <a:pt x="1491" y="573"/>
                  </a:cubicBezTo>
                  <a:cubicBezTo>
                    <a:pt x="1504" y="441"/>
                    <a:pt x="1504" y="441"/>
                    <a:pt x="1504" y="441"/>
                  </a:cubicBezTo>
                  <a:cubicBezTo>
                    <a:pt x="1518" y="441"/>
                    <a:pt x="1518" y="441"/>
                    <a:pt x="1518" y="441"/>
                  </a:cubicBezTo>
                  <a:cubicBezTo>
                    <a:pt x="1526" y="14"/>
                    <a:pt x="1526" y="14"/>
                    <a:pt x="1526" y="14"/>
                  </a:cubicBezTo>
                  <a:cubicBezTo>
                    <a:pt x="1517" y="11"/>
                    <a:pt x="1517" y="11"/>
                    <a:pt x="1517" y="11"/>
                  </a:cubicBezTo>
                  <a:cubicBezTo>
                    <a:pt x="1517" y="11"/>
                    <a:pt x="1516" y="10"/>
                    <a:pt x="1516" y="10"/>
                  </a:cubicBezTo>
                  <a:cubicBezTo>
                    <a:pt x="1516" y="9"/>
                    <a:pt x="1517" y="8"/>
                    <a:pt x="1518" y="8"/>
                  </a:cubicBezTo>
                  <a:cubicBezTo>
                    <a:pt x="1566" y="8"/>
                    <a:pt x="1566" y="8"/>
                    <a:pt x="1566" y="8"/>
                  </a:cubicBezTo>
                  <a:cubicBezTo>
                    <a:pt x="1567" y="8"/>
                    <a:pt x="1568" y="9"/>
                    <a:pt x="1568" y="10"/>
                  </a:cubicBezTo>
                  <a:cubicBezTo>
                    <a:pt x="1568" y="10"/>
                    <a:pt x="1568" y="11"/>
                    <a:pt x="1567" y="11"/>
                  </a:cubicBezTo>
                  <a:cubicBezTo>
                    <a:pt x="1560" y="14"/>
                    <a:pt x="1560" y="14"/>
                    <a:pt x="1560" y="14"/>
                  </a:cubicBezTo>
                  <a:cubicBezTo>
                    <a:pt x="1566" y="441"/>
                    <a:pt x="1566" y="441"/>
                    <a:pt x="1566" y="441"/>
                  </a:cubicBezTo>
                  <a:cubicBezTo>
                    <a:pt x="1585" y="441"/>
                    <a:pt x="1585" y="441"/>
                    <a:pt x="1585" y="441"/>
                  </a:cubicBezTo>
                  <a:cubicBezTo>
                    <a:pt x="1596" y="573"/>
                    <a:pt x="1596" y="573"/>
                    <a:pt x="1596" y="573"/>
                  </a:cubicBezTo>
                  <a:cubicBezTo>
                    <a:pt x="1686" y="573"/>
                    <a:pt x="1686" y="573"/>
                    <a:pt x="1686" y="573"/>
                  </a:cubicBezTo>
                  <a:cubicBezTo>
                    <a:pt x="1686" y="697"/>
                    <a:pt x="1686" y="697"/>
                    <a:pt x="1686" y="697"/>
                  </a:cubicBezTo>
                  <a:cubicBezTo>
                    <a:pt x="1791" y="697"/>
                    <a:pt x="1791" y="697"/>
                    <a:pt x="1791" y="697"/>
                  </a:cubicBezTo>
                  <a:cubicBezTo>
                    <a:pt x="1791" y="684"/>
                    <a:pt x="1791" y="684"/>
                    <a:pt x="1791" y="684"/>
                  </a:cubicBezTo>
                  <a:cubicBezTo>
                    <a:pt x="1828" y="684"/>
                    <a:pt x="1828" y="684"/>
                    <a:pt x="1828" y="684"/>
                  </a:cubicBezTo>
                  <a:cubicBezTo>
                    <a:pt x="1831" y="682"/>
                    <a:pt x="1831" y="682"/>
                    <a:pt x="1831" y="682"/>
                  </a:cubicBezTo>
                  <a:cubicBezTo>
                    <a:pt x="1867" y="663"/>
                    <a:pt x="1894" y="621"/>
                    <a:pt x="1906" y="559"/>
                  </a:cubicBezTo>
                  <a:cubicBezTo>
                    <a:pt x="1907" y="553"/>
                    <a:pt x="1907" y="553"/>
                    <a:pt x="1907" y="553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888" y="534"/>
                    <a:pt x="1879" y="515"/>
                    <a:pt x="1877" y="495"/>
                  </a:cubicBezTo>
                  <a:cubicBezTo>
                    <a:pt x="1875" y="484"/>
                    <a:pt x="1875" y="484"/>
                    <a:pt x="1875" y="484"/>
                  </a:cubicBezTo>
                  <a:cubicBezTo>
                    <a:pt x="1868" y="484"/>
                    <a:pt x="1868" y="484"/>
                    <a:pt x="1868" y="484"/>
                  </a:cubicBezTo>
                  <a:cubicBezTo>
                    <a:pt x="1868" y="466"/>
                    <a:pt x="1868" y="466"/>
                    <a:pt x="1868" y="466"/>
                  </a:cubicBezTo>
                  <a:cubicBezTo>
                    <a:pt x="1876" y="466"/>
                    <a:pt x="1876" y="466"/>
                    <a:pt x="1876" y="466"/>
                  </a:cubicBezTo>
                  <a:cubicBezTo>
                    <a:pt x="1876" y="300"/>
                    <a:pt x="1876" y="300"/>
                    <a:pt x="1876" y="300"/>
                  </a:cubicBezTo>
                  <a:cubicBezTo>
                    <a:pt x="1876" y="255"/>
                    <a:pt x="1910" y="215"/>
                    <a:pt x="1955" y="209"/>
                  </a:cubicBezTo>
                  <a:cubicBezTo>
                    <a:pt x="1965" y="207"/>
                    <a:pt x="1965" y="207"/>
                    <a:pt x="1965" y="207"/>
                  </a:cubicBezTo>
                  <a:cubicBezTo>
                    <a:pt x="1965" y="191"/>
                    <a:pt x="1965" y="191"/>
                    <a:pt x="1965" y="191"/>
                  </a:cubicBezTo>
                  <a:cubicBezTo>
                    <a:pt x="1974" y="191"/>
                    <a:pt x="1974" y="191"/>
                    <a:pt x="1974" y="191"/>
                  </a:cubicBezTo>
                  <a:cubicBezTo>
                    <a:pt x="1974" y="207"/>
                    <a:pt x="1974" y="207"/>
                    <a:pt x="1974" y="207"/>
                  </a:cubicBezTo>
                  <a:cubicBezTo>
                    <a:pt x="1984" y="209"/>
                    <a:pt x="1984" y="209"/>
                    <a:pt x="1984" y="209"/>
                  </a:cubicBezTo>
                  <a:cubicBezTo>
                    <a:pt x="2029" y="217"/>
                    <a:pt x="2061" y="255"/>
                    <a:pt x="2061" y="300"/>
                  </a:cubicBezTo>
                  <a:cubicBezTo>
                    <a:pt x="2061" y="466"/>
                    <a:pt x="2061" y="466"/>
                    <a:pt x="2061" y="466"/>
                  </a:cubicBezTo>
                  <a:cubicBezTo>
                    <a:pt x="2071" y="466"/>
                    <a:pt x="2071" y="466"/>
                    <a:pt x="2071" y="466"/>
                  </a:cubicBezTo>
                  <a:cubicBezTo>
                    <a:pt x="2071" y="484"/>
                    <a:pt x="2071" y="484"/>
                    <a:pt x="2071" y="484"/>
                  </a:cubicBezTo>
                  <a:cubicBezTo>
                    <a:pt x="2061" y="484"/>
                    <a:pt x="2061" y="484"/>
                    <a:pt x="2061" y="484"/>
                  </a:cubicBezTo>
                  <a:cubicBezTo>
                    <a:pt x="2060" y="495"/>
                    <a:pt x="2060" y="495"/>
                    <a:pt x="2060" y="495"/>
                  </a:cubicBezTo>
                  <a:cubicBezTo>
                    <a:pt x="2058" y="513"/>
                    <a:pt x="2050" y="530"/>
                    <a:pt x="2038" y="544"/>
                  </a:cubicBezTo>
                  <a:cubicBezTo>
                    <a:pt x="2034" y="548"/>
                    <a:pt x="2034" y="548"/>
                    <a:pt x="2034" y="548"/>
                  </a:cubicBezTo>
                  <a:cubicBezTo>
                    <a:pt x="2035" y="554"/>
                    <a:pt x="2035" y="554"/>
                    <a:pt x="2035" y="554"/>
                  </a:cubicBezTo>
                  <a:cubicBezTo>
                    <a:pt x="2047" y="619"/>
                    <a:pt x="2074" y="663"/>
                    <a:pt x="2112" y="682"/>
                  </a:cubicBezTo>
                  <a:cubicBezTo>
                    <a:pt x="2114" y="684"/>
                    <a:pt x="2114" y="684"/>
                    <a:pt x="2114" y="684"/>
                  </a:cubicBezTo>
                  <a:cubicBezTo>
                    <a:pt x="2166" y="684"/>
                    <a:pt x="2166" y="684"/>
                    <a:pt x="2166" y="684"/>
                  </a:cubicBezTo>
                  <a:cubicBezTo>
                    <a:pt x="2166" y="624"/>
                    <a:pt x="2166" y="624"/>
                    <a:pt x="2166" y="624"/>
                  </a:cubicBezTo>
                  <a:cubicBezTo>
                    <a:pt x="2220" y="624"/>
                    <a:pt x="2220" y="624"/>
                    <a:pt x="2220" y="624"/>
                  </a:cubicBezTo>
                  <a:cubicBezTo>
                    <a:pt x="2220" y="490"/>
                    <a:pt x="2220" y="490"/>
                    <a:pt x="2220" y="490"/>
                  </a:cubicBezTo>
                  <a:cubicBezTo>
                    <a:pt x="2220" y="470"/>
                    <a:pt x="2235" y="453"/>
                    <a:pt x="2255" y="451"/>
                  </a:cubicBezTo>
                  <a:cubicBezTo>
                    <a:pt x="2259" y="451"/>
                    <a:pt x="2259" y="451"/>
                    <a:pt x="2259" y="451"/>
                  </a:cubicBezTo>
                  <a:cubicBezTo>
                    <a:pt x="2263" y="451"/>
                    <a:pt x="2263" y="451"/>
                    <a:pt x="2263" y="451"/>
                  </a:cubicBezTo>
                  <a:cubicBezTo>
                    <a:pt x="2284" y="453"/>
                    <a:pt x="2300" y="470"/>
                    <a:pt x="2300" y="490"/>
                  </a:cubicBezTo>
                  <a:cubicBezTo>
                    <a:pt x="2300" y="624"/>
                    <a:pt x="2300" y="624"/>
                    <a:pt x="2300" y="624"/>
                  </a:cubicBezTo>
                  <a:cubicBezTo>
                    <a:pt x="2393" y="624"/>
                    <a:pt x="2393" y="624"/>
                    <a:pt x="2393" y="624"/>
                  </a:cubicBezTo>
                  <a:cubicBezTo>
                    <a:pt x="2393" y="490"/>
                    <a:pt x="2393" y="490"/>
                    <a:pt x="2393" y="490"/>
                  </a:cubicBezTo>
                  <a:cubicBezTo>
                    <a:pt x="2393" y="470"/>
                    <a:pt x="2408" y="453"/>
                    <a:pt x="2428" y="451"/>
                  </a:cubicBezTo>
                  <a:cubicBezTo>
                    <a:pt x="2432" y="450"/>
                    <a:pt x="2432" y="450"/>
                    <a:pt x="2432" y="450"/>
                  </a:cubicBezTo>
                  <a:cubicBezTo>
                    <a:pt x="2436" y="451"/>
                    <a:pt x="2436" y="451"/>
                    <a:pt x="2436" y="451"/>
                  </a:cubicBezTo>
                  <a:cubicBezTo>
                    <a:pt x="2457" y="453"/>
                    <a:pt x="2472" y="470"/>
                    <a:pt x="2472" y="490"/>
                  </a:cubicBezTo>
                  <a:cubicBezTo>
                    <a:pt x="2472" y="624"/>
                    <a:pt x="2472" y="624"/>
                    <a:pt x="2472" y="624"/>
                  </a:cubicBezTo>
                  <a:cubicBezTo>
                    <a:pt x="2631" y="624"/>
                    <a:pt x="2631" y="624"/>
                    <a:pt x="2631" y="624"/>
                  </a:cubicBezTo>
                  <a:cubicBezTo>
                    <a:pt x="2631" y="729"/>
                    <a:pt x="2631" y="729"/>
                    <a:pt x="2631" y="729"/>
                  </a:cubicBezTo>
                  <a:cubicBezTo>
                    <a:pt x="2696" y="729"/>
                    <a:pt x="2696" y="729"/>
                    <a:pt x="2696" y="729"/>
                  </a:cubicBezTo>
                  <a:cubicBezTo>
                    <a:pt x="2696" y="837"/>
                    <a:pt x="2696" y="837"/>
                    <a:pt x="2696" y="837"/>
                  </a:cubicBezTo>
                  <a:cubicBezTo>
                    <a:pt x="2745" y="837"/>
                    <a:pt x="2745" y="837"/>
                    <a:pt x="2745" y="837"/>
                  </a:cubicBezTo>
                  <a:cubicBezTo>
                    <a:pt x="2749" y="832"/>
                    <a:pt x="2749" y="832"/>
                    <a:pt x="2749" y="832"/>
                  </a:cubicBezTo>
                  <a:cubicBezTo>
                    <a:pt x="2779" y="793"/>
                    <a:pt x="2852" y="678"/>
                    <a:pt x="2872" y="443"/>
                  </a:cubicBezTo>
                  <a:cubicBezTo>
                    <a:pt x="2872" y="440"/>
                    <a:pt x="2872" y="436"/>
                    <a:pt x="2873" y="432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0"/>
                    <a:pt x="2874" y="410"/>
                    <a:pt x="2874" y="410"/>
                  </a:cubicBezTo>
                  <a:cubicBezTo>
                    <a:pt x="2874" y="405"/>
                    <a:pt x="2875" y="400"/>
                    <a:pt x="2875" y="395"/>
                  </a:cubicBezTo>
                  <a:cubicBezTo>
                    <a:pt x="2877" y="350"/>
                    <a:pt x="2877" y="350"/>
                    <a:pt x="2877" y="350"/>
                  </a:cubicBezTo>
                  <a:cubicBezTo>
                    <a:pt x="2865" y="350"/>
                    <a:pt x="2865" y="350"/>
                    <a:pt x="2865" y="350"/>
                  </a:cubicBezTo>
                  <a:cubicBezTo>
                    <a:pt x="2865" y="338"/>
                    <a:pt x="2865" y="338"/>
                    <a:pt x="2865" y="338"/>
                  </a:cubicBezTo>
                  <a:cubicBezTo>
                    <a:pt x="3036" y="338"/>
                    <a:pt x="3036" y="338"/>
                    <a:pt x="3036" y="338"/>
                  </a:cubicBezTo>
                  <a:cubicBezTo>
                    <a:pt x="3036" y="350"/>
                    <a:pt x="3036" y="350"/>
                    <a:pt x="3036" y="350"/>
                  </a:cubicBezTo>
                  <a:cubicBezTo>
                    <a:pt x="3026" y="350"/>
                    <a:pt x="3026" y="350"/>
                    <a:pt x="3026" y="350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94"/>
                    <a:pt x="3027" y="394"/>
                    <a:pt x="3027" y="394"/>
                  </a:cubicBezTo>
                  <a:cubicBezTo>
                    <a:pt x="3027" y="400"/>
                    <a:pt x="3027" y="405"/>
                    <a:pt x="3027" y="410"/>
                  </a:cubicBezTo>
                  <a:cubicBezTo>
                    <a:pt x="3028" y="432"/>
                    <a:pt x="3028" y="432"/>
                    <a:pt x="3028" y="432"/>
                  </a:cubicBezTo>
                  <a:cubicBezTo>
                    <a:pt x="3034" y="543"/>
                    <a:pt x="3053" y="637"/>
                    <a:pt x="3086" y="713"/>
                  </a:cubicBezTo>
                  <a:cubicBezTo>
                    <a:pt x="3113" y="777"/>
                    <a:pt x="3143" y="814"/>
                    <a:pt x="3164" y="834"/>
                  </a:cubicBezTo>
                  <a:cubicBezTo>
                    <a:pt x="3168" y="837"/>
                    <a:pt x="3168" y="837"/>
                    <a:pt x="3168" y="837"/>
                  </a:cubicBezTo>
                  <a:cubicBezTo>
                    <a:pt x="3236" y="837"/>
                    <a:pt x="3236" y="837"/>
                    <a:pt x="3236" y="837"/>
                  </a:cubicBezTo>
                  <a:cubicBezTo>
                    <a:pt x="3237" y="841"/>
                    <a:pt x="3238" y="847"/>
                    <a:pt x="3239" y="856"/>
                  </a:cubicBezTo>
                  <a:cubicBezTo>
                    <a:pt x="3241" y="854"/>
                    <a:pt x="3244" y="851"/>
                    <a:pt x="3246" y="849"/>
                  </a:cubicBezTo>
                  <a:cubicBezTo>
                    <a:pt x="3246" y="849"/>
                    <a:pt x="3246" y="848"/>
                    <a:pt x="3246" y="847"/>
                  </a:cubicBezTo>
                  <a:cubicBezTo>
                    <a:pt x="3243" y="829"/>
                    <a:pt x="3243" y="829"/>
                    <a:pt x="3239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171" y="829"/>
                    <a:pt x="3171" y="829"/>
                    <a:pt x="3171" y="829"/>
                  </a:cubicBezTo>
                  <a:cubicBezTo>
                    <a:pt x="3170" y="828"/>
                    <a:pt x="3170" y="828"/>
                    <a:pt x="3170" y="828"/>
                  </a:cubicBezTo>
                  <a:cubicBezTo>
                    <a:pt x="3149" y="808"/>
                    <a:pt x="3120" y="772"/>
                    <a:pt x="3093" y="710"/>
                  </a:cubicBezTo>
                  <a:cubicBezTo>
                    <a:pt x="3061" y="635"/>
                    <a:pt x="3042" y="541"/>
                    <a:pt x="3036" y="432"/>
                  </a:cubicBezTo>
                  <a:cubicBezTo>
                    <a:pt x="3036" y="425"/>
                    <a:pt x="3036" y="425"/>
                    <a:pt x="3036" y="425"/>
                  </a:cubicBezTo>
                  <a:cubicBezTo>
                    <a:pt x="3040" y="425"/>
                    <a:pt x="3040" y="425"/>
                    <a:pt x="3040" y="425"/>
                  </a:cubicBezTo>
                  <a:cubicBezTo>
                    <a:pt x="3040" y="413"/>
                    <a:pt x="3040" y="413"/>
                    <a:pt x="3040" y="413"/>
                  </a:cubicBezTo>
                  <a:cubicBezTo>
                    <a:pt x="3035" y="413"/>
                    <a:pt x="3035" y="413"/>
                    <a:pt x="3035" y="413"/>
                  </a:cubicBezTo>
                  <a:cubicBezTo>
                    <a:pt x="3035" y="410"/>
                    <a:pt x="3035" y="410"/>
                    <a:pt x="3035" y="410"/>
                  </a:cubicBezTo>
                  <a:cubicBezTo>
                    <a:pt x="3035" y="405"/>
                    <a:pt x="3035" y="400"/>
                    <a:pt x="3035" y="394"/>
                  </a:cubicBezTo>
                  <a:cubicBezTo>
                    <a:pt x="3035" y="390"/>
                    <a:pt x="3035" y="390"/>
                    <a:pt x="3035" y="390"/>
                  </a:cubicBezTo>
                  <a:cubicBezTo>
                    <a:pt x="3040" y="390"/>
                    <a:pt x="3040" y="390"/>
                    <a:pt x="3040" y="390"/>
                  </a:cubicBezTo>
                  <a:cubicBezTo>
                    <a:pt x="3040" y="378"/>
                    <a:pt x="3040" y="378"/>
                    <a:pt x="3040" y="378"/>
                  </a:cubicBezTo>
                  <a:cubicBezTo>
                    <a:pt x="3035" y="378"/>
                    <a:pt x="3035" y="378"/>
                    <a:pt x="3035" y="378"/>
                  </a:cubicBezTo>
                  <a:cubicBezTo>
                    <a:pt x="3034" y="358"/>
                    <a:pt x="3034" y="358"/>
                    <a:pt x="3034" y="358"/>
                  </a:cubicBezTo>
                  <a:cubicBezTo>
                    <a:pt x="3044" y="358"/>
                    <a:pt x="3044" y="358"/>
                    <a:pt x="3044" y="358"/>
                  </a:cubicBezTo>
                  <a:cubicBezTo>
                    <a:pt x="3044" y="330"/>
                    <a:pt x="3044" y="330"/>
                    <a:pt x="3044" y="330"/>
                  </a:cubicBezTo>
                  <a:cubicBezTo>
                    <a:pt x="2857" y="330"/>
                    <a:pt x="2857" y="330"/>
                    <a:pt x="2857" y="330"/>
                  </a:cubicBezTo>
                  <a:cubicBezTo>
                    <a:pt x="2857" y="358"/>
                    <a:pt x="2857" y="358"/>
                    <a:pt x="2857" y="358"/>
                  </a:cubicBezTo>
                  <a:cubicBezTo>
                    <a:pt x="2868" y="358"/>
                    <a:pt x="2868" y="358"/>
                    <a:pt x="2868" y="358"/>
                  </a:cubicBezTo>
                  <a:cubicBezTo>
                    <a:pt x="2868" y="378"/>
                    <a:pt x="2868" y="378"/>
                    <a:pt x="2868" y="378"/>
                  </a:cubicBezTo>
                  <a:cubicBezTo>
                    <a:pt x="2862" y="378"/>
                    <a:pt x="2862" y="378"/>
                    <a:pt x="2862" y="378"/>
                  </a:cubicBezTo>
                  <a:cubicBezTo>
                    <a:pt x="2862" y="390"/>
                    <a:pt x="2862" y="390"/>
                    <a:pt x="2862" y="390"/>
                  </a:cubicBezTo>
                  <a:cubicBezTo>
                    <a:pt x="2867" y="390"/>
                    <a:pt x="2867" y="390"/>
                    <a:pt x="2867" y="390"/>
                  </a:cubicBezTo>
                  <a:cubicBezTo>
                    <a:pt x="2867" y="394"/>
                    <a:pt x="2867" y="394"/>
                    <a:pt x="2867" y="394"/>
                  </a:cubicBezTo>
                  <a:cubicBezTo>
                    <a:pt x="2867" y="400"/>
                    <a:pt x="2866" y="405"/>
                    <a:pt x="2866" y="410"/>
                  </a:cubicBezTo>
                  <a:cubicBezTo>
                    <a:pt x="2866" y="413"/>
                    <a:pt x="2866" y="413"/>
                    <a:pt x="2866" y="413"/>
                  </a:cubicBezTo>
                  <a:cubicBezTo>
                    <a:pt x="2862" y="413"/>
                    <a:pt x="2862" y="413"/>
                    <a:pt x="2862" y="413"/>
                  </a:cubicBezTo>
                  <a:cubicBezTo>
                    <a:pt x="2862" y="425"/>
                    <a:pt x="2862" y="425"/>
                    <a:pt x="2862" y="425"/>
                  </a:cubicBezTo>
                  <a:cubicBezTo>
                    <a:pt x="2865" y="425"/>
                    <a:pt x="2865" y="425"/>
                    <a:pt x="2865" y="425"/>
                  </a:cubicBezTo>
                  <a:cubicBezTo>
                    <a:pt x="2865" y="432"/>
                    <a:pt x="2865" y="432"/>
                    <a:pt x="2865" y="432"/>
                  </a:cubicBezTo>
                  <a:cubicBezTo>
                    <a:pt x="2864" y="435"/>
                    <a:pt x="2864" y="439"/>
                    <a:pt x="2864" y="442"/>
                  </a:cubicBezTo>
                  <a:cubicBezTo>
                    <a:pt x="2844" y="675"/>
                    <a:pt x="2772" y="789"/>
                    <a:pt x="2743" y="827"/>
                  </a:cubicBezTo>
                  <a:cubicBezTo>
                    <a:pt x="2741" y="829"/>
                    <a:pt x="2741" y="829"/>
                    <a:pt x="2741" y="829"/>
                  </a:cubicBezTo>
                  <a:cubicBezTo>
                    <a:pt x="2704" y="829"/>
                    <a:pt x="2704" y="829"/>
                    <a:pt x="2704" y="829"/>
                  </a:cubicBezTo>
                  <a:cubicBezTo>
                    <a:pt x="2704" y="721"/>
                    <a:pt x="2704" y="721"/>
                    <a:pt x="2704" y="721"/>
                  </a:cubicBezTo>
                  <a:cubicBezTo>
                    <a:pt x="2639" y="721"/>
                    <a:pt x="2639" y="721"/>
                    <a:pt x="2639" y="721"/>
                  </a:cubicBezTo>
                  <a:cubicBezTo>
                    <a:pt x="2639" y="616"/>
                    <a:pt x="2639" y="616"/>
                    <a:pt x="2639" y="616"/>
                  </a:cubicBezTo>
                  <a:cubicBezTo>
                    <a:pt x="2480" y="616"/>
                    <a:pt x="2480" y="616"/>
                    <a:pt x="2480" y="616"/>
                  </a:cubicBezTo>
                  <a:cubicBezTo>
                    <a:pt x="2480" y="490"/>
                    <a:pt x="2480" y="490"/>
                    <a:pt x="2480" y="490"/>
                  </a:cubicBezTo>
                  <a:cubicBezTo>
                    <a:pt x="2480" y="466"/>
                    <a:pt x="2461" y="445"/>
                    <a:pt x="2437" y="443"/>
                  </a:cubicBezTo>
                  <a:cubicBezTo>
                    <a:pt x="2432" y="442"/>
                    <a:pt x="2432" y="442"/>
                    <a:pt x="2432" y="442"/>
                  </a:cubicBezTo>
                  <a:cubicBezTo>
                    <a:pt x="2427" y="443"/>
                    <a:pt x="2427" y="443"/>
                    <a:pt x="2427" y="443"/>
                  </a:cubicBezTo>
                  <a:cubicBezTo>
                    <a:pt x="2403" y="446"/>
                    <a:pt x="2385" y="466"/>
                    <a:pt x="2385" y="490"/>
                  </a:cubicBezTo>
                  <a:cubicBezTo>
                    <a:pt x="2385" y="616"/>
                    <a:pt x="2385" y="616"/>
                    <a:pt x="2385" y="616"/>
                  </a:cubicBezTo>
                  <a:cubicBezTo>
                    <a:pt x="2308" y="616"/>
                    <a:pt x="2308" y="616"/>
                    <a:pt x="2308" y="616"/>
                  </a:cubicBezTo>
                  <a:cubicBezTo>
                    <a:pt x="2308" y="490"/>
                    <a:pt x="2308" y="490"/>
                    <a:pt x="2308" y="490"/>
                  </a:cubicBezTo>
                  <a:cubicBezTo>
                    <a:pt x="2308" y="466"/>
                    <a:pt x="2289" y="445"/>
                    <a:pt x="2264" y="443"/>
                  </a:cubicBezTo>
                  <a:cubicBezTo>
                    <a:pt x="2259" y="442"/>
                    <a:pt x="2259" y="442"/>
                    <a:pt x="2259" y="442"/>
                  </a:cubicBezTo>
                  <a:cubicBezTo>
                    <a:pt x="2254" y="443"/>
                    <a:pt x="2254" y="443"/>
                    <a:pt x="2254" y="443"/>
                  </a:cubicBezTo>
                  <a:cubicBezTo>
                    <a:pt x="2230" y="446"/>
                    <a:pt x="2212" y="466"/>
                    <a:pt x="2212" y="490"/>
                  </a:cubicBezTo>
                  <a:cubicBezTo>
                    <a:pt x="2212" y="616"/>
                    <a:pt x="2212" y="616"/>
                    <a:pt x="2212" y="616"/>
                  </a:cubicBezTo>
                  <a:cubicBezTo>
                    <a:pt x="2158" y="616"/>
                    <a:pt x="2158" y="616"/>
                    <a:pt x="2158" y="616"/>
                  </a:cubicBezTo>
                  <a:cubicBezTo>
                    <a:pt x="2158" y="676"/>
                    <a:pt x="2158" y="676"/>
                    <a:pt x="2158" y="676"/>
                  </a:cubicBezTo>
                  <a:cubicBezTo>
                    <a:pt x="2116" y="676"/>
                    <a:pt x="2116" y="676"/>
                    <a:pt x="2116" y="676"/>
                  </a:cubicBezTo>
                  <a:cubicBezTo>
                    <a:pt x="2115" y="675"/>
                    <a:pt x="2115" y="675"/>
                    <a:pt x="2115" y="675"/>
                  </a:cubicBezTo>
                  <a:cubicBezTo>
                    <a:pt x="2080" y="657"/>
                    <a:pt x="2055" y="615"/>
                    <a:pt x="2043" y="552"/>
                  </a:cubicBezTo>
                  <a:cubicBezTo>
                    <a:pt x="2043" y="551"/>
                    <a:pt x="2043" y="551"/>
                    <a:pt x="2043" y="551"/>
                  </a:cubicBezTo>
                  <a:cubicBezTo>
                    <a:pt x="2044" y="549"/>
                    <a:pt x="2044" y="549"/>
                    <a:pt x="2044" y="549"/>
                  </a:cubicBezTo>
                  <a:cubicBezTo>
                    <a:pt x="2057" y="534"/>
                    <a:pt x="2065" y="515"/>
                    <a:pt x="2068" y="496"/>
                  </a:cubicBezTo>
                  <a:cubicBezTo>
                    <a:pt x="2068" y="492"/>
                    <a:pt x="2068" y="492"/>
                    <a:pt x="2068" y="492"/>
                  </a:cubicBezTo>
                  <a:cubicBezTo>
                    <a:pt x="2079" y="492"/>
                    <a:pt x="2079" y="492"/>
                    <a:pt x="2079" y="492"/>
                  </a:cubicBezTo>
                  <a:cubicBezTo>
                    <a:pt x="2079" y="458"/>
                    <a:pt x="2079" y="458"/>
                    <a:pt x="2079" y="458"/>
                  </a:cubicBezTo>
                  <a:cubicBezTo>
                    <a:pt x="2069" y="458"/>
                    <a:pt x="2069" y="458"/>
                    <a:pt x="2069" y="458"/>
                  </a:cubicBezTo>
                  <a:cubicBezTo>
                    <a:pt x="2069" y="372"/>
                    <a:pt x="2069" y="372"/>
                    <a:pt x="2069" y="372"/>
                  </a:cubicBezTo>
                  <a:cubicBezTo>
                    <a:pt x="2072" y="372"/>
                    <a:pt x="2072" y="372"/>
                    <a:pt x="2072" y="372"/>
                  </a:cubicBezTo>
                  <a:cubicBezTo>
                    <a:pt x="2072" y="361"/>
                    <a:pt x="2072" y="361"/>
                    <a:pt x="2072" y="361"/>
                  </a:cubicBezTo>
                  <a:cubicBezTo>
                    <a:pt x="2069" y="361"/>
                    <a:pt x="2069" y="361"/>
                    <a:pt x="2069" y="361"/>
                  </a:cubicBezTo>
                  <a:cubicBezTo>
                    <a:pt x="2069" y="300"/>
                    <a:pt x="2069" y="300"/>
                    <a:pt x="2069" y="300"/>
                  </a:cubicBezTo>
                  <a:cubicBezTo>
                    <a:pt x="2069" y="251"/>
                    <a:pt x="2034" y="210"/>
                    <a:pt x="1986" y="201"/>
                  </a:cubicBezTo>
                  <a:cubicBezTo>
                    <a:pt x="1982" y="201"/>
                    <a:pt x="1982" y="201"/>
                    <a:pt x="1982" y="201"/>
                  </a:cubicBezTo>
                  <a:cubicBezTo>
                    <a:pt x="1982" y="183"/>
                    <a:pt x="1982" y="183"/>
                    <a:pt x="1982" y="183"/>
                  </a:cubicBezTo>
                  <a:cubicBezTo>
                    <a:pt x="1957" y="183"/>
                    <a:pt x="1957" y="183"/>
                    <a:pt x="1957" y="183"/>
                  </a:cubicBezTo>
                  <a:cubicBezTo>
                    <a:pt x="1957" y="200"/>
                    <a:pt x="1957" y="200"/>
                    <a:pt x="1957" y="200"/>
                  </a:cubicBezTo>
                  <a:cubicBezTo>
                    <a:pt x="1954" y="201"/>
                    <a:pt x="1954" y="201"/>
                    <a:pt x="1954" y="201"/>
                  </a:cubicBezTo>
                  <a:cubicBezTo>
                    <a:pt x="1905" y="208"/>
                    <a:pt x="1868" y="251"/>
                    <a:pt x="1868" y="300"/>
                  </a:cubicBezTo>
                  <a:cubicBezTo>
                    <a:pt x="1868" y="361"/>
                    <a:pt x="1868" y="361"/>
                    <a:pt x="1868" y="361"/>
                  </a:cubicBezTo>
                  <a:cubicBezTo>
                    <a:pt x="1866" y="361"/>
                    <a:pt x="1866" y="361"/>
                    <a:pt x="1866" y="361"/>
                  </a:cubicBezTo>
                  <a:cubicBezTo>
                    <a:pt x="1866" y="372"/>
                    <a:pt x="1866" y="372"/>
                    <a:pt x="1866" y="372"/>
                  </a:cubicBezTo>
                  <a:cubicBezTo>
                    <a:pt x="1868" y="372"/>
                    <a:pt x="1868" y="372"/>
                    <a:pt x="1868" y="372"/>
                  </a:cubicBezTo>
                  <a:cubicBezTo>
                    <a:pt x="1868" y="458"/>
                    <a:pt x="1868" y="458"/>
                    <a:pt x="1868" y="458"/>
                  </a:cubicBezTo>
                  <a:cubicBezTo>
                    <a:pt x="1860" y="458"/>
                    <a:pt x="1860" y="458"/>
                    <a:pt x="1860" y="458"/>
                  </a:cubicBezTo>
                  <a:cubicBezTo>
                    <a:pt x="1860" y="492"/>
                    <a:pt x="1860" y="492"/>
                    <a:pt x="1860" y="492"/>
                  </a:cubicBezTo>
                  <a:cubicBezTo>
                    <a:pt x="1868" y="492"/>
                    <a:pt x="1868" y="492"/>
                    <a:pt x="1868" y="492"/>
                  </a:cubicBezTo>
                  <a:cubicBezTo>
                    <a:pt x="1869" y="496"/>
                    <a:pt x="1869" y="496"/>
                    <a:pt x="1869" y="496"/>
                  </a:cubicBezTo>
                  <a:cubicBezTo>
                    <a:pt x="1871" y="518"/>
                    <a:pt x="1881" y="538"/>
                    <a:pt x="1897" y="554"/>
                  </a:cubicBezTo>
                  <a:cubicBezTo>
                    <a:pt x="1898" y="556"/>
                    <a:pt x="1898" y="556"/>
                    <a:pt x="1898" y="556"/>
                  </a:cubicBezTo>
                  <a:cubicBezTo>
                    <a:pt x="1898" y="558"/>
                    <a:pt x="1898" y="558"/>
                    <a:pt x="1898" y="558"/>
                  </a:cubicBezTo>
                  <a:cubicBezTo>
                    <a:pt x="1886" y="617"/>
                    <a:pt x="1862" y="657"/>
                    <a:pt x="1827" y="675"/>
                  </a:cubicBezTo>
                  <a:cubicBezTo>
                    <a:pt x="1826" y="676"/>
                    <a:pt x="1826" y="676"/>
                    <a:pt x="1826" y="676"/>
                  </a:cubicBezTo>
                  <a:cubicBezTo>
                    <a:pt x="1783" y="676"/>
                    <a:pt x="1783" y="676"/>
                    <a:pt x="1783" y="676"/>
                  </a:cubicBezTo>
                  <a:cubicBezTo>
                    <a:pt x="1783" y="689"/>
                    <a:pt x="1783" y="689"/>
                    <a:pt x="1783" y="689"/>
                  </a:cubicBezTo>
                  <a:cubicBezTo>
                    <a:pt x="1694" y="689"/>
                    <a:pt x="1694" y="689"/>
                    <a:pt x="1694" y="689"/>
                  </a:cubicBezTo>
                  <a:cubicBezTo>
                    <a:pt x="1694" y="565"/>
                    <a:pt x="1694" y="565"/>
                    <a:pt x="1694" y="565"/>
                  </a:cubicBezTo>
                  <a:cubicBezTo>
                    <a:pt x="1603" y="565"/>
                    <a:pt x="1603" y="565"/>
                    <a:pt x="1603" y="565"/>
                  </a:cubicBezTo>
                  <a:cubicBezTo>
                    <a:pt x="1592" y="433"/>
                    <a:pt x="1592" y="433"/>
                    <a:pt x="1592" y="433"/>
                  </a:cubicBezTo>
                  <a:cubicBezTo>
                    <a:pt x="1574" y="433"/>
                    <a:pt x="1574" y="433"/>
                    <a:pt x="1574" y="433"/>
                  </a:cubicBezTo>
                  <a:cubicBezTo>
                    <a:pt x="1568" y="19"/>
                    <a:pt x="1568" y="19"/>
                    <a:pt x="1568" y="19"/>
                  </a:cubicBezTo>
                  <a:cubicBezTo>
                    <a:pt x="1570" y="18"/>
                    <a:pt x="1570" y="18"/>
                    <a:pt x="1570" y="18"/>
                  </a:cubicBezTo>
                  <a:cubicBezTo>
                    <a:pt x="1574" y="17"/>
                    <a:pt x="1576" y="13"/>
                    <a:pt x="1576" y="10"/>
                  </a:cubicBezTo>
                  <a:cubicBezTo>
                    <a:pt x="1576" y="4"/>
                    <a:pt x="1572" y="0"/>
                    <a:pt x="1566" y="0"/>
                  </a:cubicBezTo>
                  <a:cubicBezTo>
                    <a:pt x="1518" y="0"/>
                    <a:pt x="1518" y="0"/>
                    <a:pt x="1518" y="0"/>
                  </a:cubicBezTo>
                  <a:cubicBezTo>
                    <a:pt x="1512" y="0"/>
                    <a:pt x="1508" y="4"/>
                    <a:pt x="1508" y="10"/>
                  </a:cubicBezTo>
                  <a:cubicBezTo>
                    <a:pt x="1508" y="14"/>
                    <a:pt x="1511" y="17"/>
                    <a:pt x="1515" y="19"/>
                  </a:cubicBezTo>
                  <a:cubicBezTo>
                    <a:pt x="1518" y="20"/>
                    <a:pt x="1518" y="20"/>
                    <a:pt x="1518" y="20"/>
                  </a:cubicBezTo>
                  <a:cubicBezTo>
                    <a:pt x="1510" y="433"/>
                    <a:pt x="1510" y="433"/>
                    <a:pt x="1510" y="433"/>
                  </a:cubicBezTo>
                  <a:cubicBezTo>
                    <a:pt x="1497" y="433"/>
                    <a:pt x="1497" y="433"/>
                    <a:pt x="1497" y="433"/>
                  </a:cubicBezTo>
                  <a:cubicBezTo>
                    <a:pt x="1484" y="565"/>
                    <a:pt x="1484" y="565"/>
                    <a:pt x="1484" y="565"/>
                  </a:cubicBezTo>
                  <a:cubicBezTo>
                    <a:pt x="1396" y="565"/>
                    <a:pt x="1396" y="565"/>
                    <a:pt x="1396" y="565"/>
                  </a:cubicBezTo>
                  <a:cubicBezTo>
                    <a:pt x="1386" y="433"/>
                    <a:pt x="1386" y="433"/>
                    <a:pt x="1386" y="433"/>
                  </a:cubicBezTo>
                  <a:cubicBezTo>
                    <a:pt x="1367" y="433"/>
                    <a:pt x="1367" y="433"/>
                    <a:pt x="1367" y="433"/>
                  </a:cubicBezTo>
                  <a:cubicBezTo>
                    <a:pt x="1362" y="116"/>
                    <a:pt x="1362" y="116"/>
                    <a:pt x="1362" y="116"/>
                  </a:cubicBezTo>
                  <a:cubicBezTo>
                    <a:pt x="1363" y="115"/>
                    <a:pt x="1363" y="115"/>
                    <a:pt x="1363" y="115"/>
                  </a:cubicBezTo>
                  <a:cubicBezTo>
                    <a:pt x="1366" y="113"/>
                    <a:pt x="1368" y="110"/>
                    <a:pt x="1368" y="107"/>
                  </a:cubicBezTo>
                  <a:cubicBezTo>
                    <a:pt x="1368" y="101"/>
                    <a:pt x="1363" y="97"/>
                    <a:pt x="1358" y="97"/>
                  </a:cubicBezTo>
                  <a:cubicBezTo>
                    <a:pt x="1309" y="97"/>
                    <a:pt x="1309" y="97"/>
                    <a:pt x="1309" y="97"/>
                  </a:cubicBezTo>
                  <a:cubicBezTo>
                    <a:pt x="1304" y="97"/>
                    <a:pt x="1300" y="101"/>
                    <a:pt x="1300" y="107"/>
                  </a:cubicBezTo>
                  <a:cubicBezTo>
                    <a:pt x="1300" y="111"/>
                    <a:pt x="1303" y="115"/>
                    <a:pt x="1308" y="116"/>
                  </a:cubicBezTo>
                  <a:cubicBezTo>
                    <a:pt x="1311" y="117"/>
                    <a:pt x="1311" y="117"/>
                    <a:pt x="1311" y="117"/>
                  </a:cubicBezTo>
                  <a:cubicBezTo>
                    <a:pt x="1304" y="433"/>
                    <a:pt x="1304" y="433"/>
                    <a:pt x="1304" y="433"/>
                  </a:cubicBezTo>
                  <a:cubicBezTo>
                    <a:pt x="1291" y="433"/>
                    <a:pt x="1291" y="433"/>
                    <a:pt x="1291" y="433"/>
                  </a:cubicBezTo>
                  <a:cubicBezTo>
                    <a:pt x="1277" y="565"/>
                    <a:pt x="1277" y="565"/>
                    <a:pt x="1277" y="565"/>
                  </a:cubicBezTo>
                  <a:cubicBezTo>
                    <a:pt x="1197" y="565"/>
                    <a:pt x="1197" y="565"/>
                    <a:pt x="1197" y="565"/>
                  </a:cubicBezTo>
                  <a:cubicBezTo>
                    <a:pt x="1187" y="433"/>
                    <a:pt x="1187" y="433"/>
                    <a:pt x="1187" y="433"/>
                  </a:cubicBezTo>
                  <a:cubicBezTo>
                    <a:pt x="1171" y="433"/>
                    <a:pt x="1171" y="433"/>
                    <a:pt x="1171" y="433"/>
                  </a:cubicBezTo>
                  <a:cubicBezTo>
                    <a:pt x="1167" y="228"/>
                    <a:pt x="1167" y="228"/>
                    <a:pt x="1167" y="228"/>
                  </a:cubicBezTo>
                  <a:cubicBezTo>
                    <a:pt x="1169" y="227"/>
                    <a:pt x="1169" y="227"/>
                    <a:pt x="1169" y="227"/>
                  </a:cubicBezTo>
                  <a:cubicBezTo>
                    <a:pt x="1173" y="225"/>
                    <a:pt x="1175" y="222"/>
                    <a:pt x="1175" y="218"/>
                  </a:cubicBezTo>
                  <a:cubicBezTo>
                    <a:pt x="1175" y="213"/>
                    <a:pt x="1170" y="208"/>
                    <a:pt x="1165" y="208"/>
                  </a:cubicBezTo>
                  <a:cubicBezTo>
                    <a:pt x="1116" y="208"/>
                    <a:pt x="1116" y="208"/>
                    <a:pt x="1116" y="208"/>
                  </a:cubicBezTo>
                  <a:cubicBezTo>
                    <a:pt x="1111" y="208"/>
                    <a:pt x="1107" y="213"/>
                    <a:pt x="1107" y="218"/>
                  </a:cubicBezTo>
                  <a:cubicBezTo>
                    <a:pt x="1107" y="222"/>
                    <a:pt x="1109" y="226"/>
                    <a:pt x="1114" y="227"/>
                  </a:cubicBezTo>
                  <a:cubicBezTo>
                    <a:pt x="1117" y="228"/>
                    <a:pt x="1117" y="228"/>
                    <a:pt x="1117" y="228"/>
                  </a:cubicBezTo>
                  <a:cubicBezTo>
                    <a:pt x="1111" y="433"/>
                    <a:pt x="1111" y="433"/>
                    <a:pt x="1111" y="433"/>
                  </a:cubicBezTo>
                  <a:cubicBezTo>
                    <a:pt x="1092" y="433"/>
                    <a:pt x="1092" y="433"/>
                    <a:pt x="1092" y="433"/>
                  </a:cubicBezTo>
                  <a:cubicBezTo>
                    <a:pt x="1078" y="565"/>
                    <a:pt x="1078" y="565"/>
                    <a:pt x="1078" y="565"/>
                  </a:cubicBezTo>
                  <a:cubicBezTo>
                    <a:pt x="973" y="565"/>
                    <a:pt x="973" y="565"/>
                    <a:pt x="973" y="565"/>
                  </a:cubicBezTo>
                  <a:cubicBezTo>
                    <a:pt x="973" y="689"/>
                    <a:pt x="973" y="689"/>
                    <a:pt x="973" y="689"/>
                  </a:cubicBezTo>
                  <a:cubicBezTo>
                    <a:pt x="867" y="684"/>
                    <a:pt x="867" y="684"/>
                    <a:pt x="867" y="684"/>
                  </a:cubicBezTo>
                  <a:cubicBezTo>
                    <a:pt x="867" y="463"/>
                    <a:pt x="867" y="463"/>
                    <a:pt x="867" y="463"/>
                  </a:cubicBezTo>
                  <a:cubicBezTo>
                    <a:pt x="677" y="520"/>
                    <a:pt x="677" y="520"/>
                    <a:pt x="677" y="520"/>
                  </a:cubicBezTo>
                  <a:cubicBezTo>
                    <a:pt x="677" y="463"/>
                    <a:pt x="677" y="463"/>
                    <a:pt x="677" y="463"/>
                  </a:cubicBezTo>
                  <a:cubicBezTo>
                    <a:pt x="486" y="520"/>
                    <a:pt x="486" y="520"/>
                    <a:pt x="486" y="520"/>
                  </a:cubicBezTo>
                  <a:cubicBezTo>
                    <a:pt x="486" y="463"/>
                    <a:pt x="486" y="463"/>
                    <a:pt x="486" y="463"/>
                  </a:cubicBezTo>
                  <a:cubicBezTo>
                    <a:pt x="294" y="521"/>
                    <a:pt x="294" y="521"/>
                    <a:pt x="294" y="521"/>
                  </a:cubicBezTo>
                  <a:cubicBezTo>
                    <a:pt x="294" y="684"/>
                    <a:pt x="294" y="684"/>
                    <a:pt x="294" y="684"/>
                  </a:cubicBezTo>
                  <a:cubicBezTo>
                    <a:pt x="199" y="684"/>
                    <a:pt x="199" y="684"/>
                    <a:pt x="199" y="68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93" y="251"/>
                    <a:pt x="200" y="245"/>
                    <a:pt x="200" y="236"/>
                  </a:cubicBezTo>
                  <a:cubicBezTo>
                    <a:pt x="200" y="228"/>
                    <a:pt x="193" y="221"/>
                    <a:pt x="184" y="221"/>
                  </a:cubicBezTo>
                  <a:cubicBezTo>
                    <a:pt x="80" y="221"/>
                    <a:pt x="80" y="221"/>
                    <a:pt x="80" y="221"/>
                  </a:cubicBezTo>
                  <a:cubicBezTo>
                    <a:pt x="72" y="221"/>
                    <a:pt x="65" y="228"/>
                    <a:pt x="65" y="236"/>
                  </a:cubicBezTo>
                  <a:cubicBezTo>
                    <a:pt x="65" y="244"/>
                    <a:pt x="71" y="251"/>
                    <a:pt x="79" y="252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40" y="721"/>
                    <a:pt x="10" y="718"/>
                    <a:pt x="7" y="716"/>
                  </a:cubicBezTo>
                  <a:cubicBezTo>
                    <a:pt x="8" y="717"/>
                    <a:pt x="9" y="718"/>
                    <a:pt x="9" y="720"/>
                  </a:cubicBezTo>
                  <a:cubicBezTo>
                    <a:pt x="1" y="719"/>
                    <a:pt x="1" y="719"/>
                    <a:pt x="1" y="719"/>
                  </a:cubicBezTo>
                  <a:cubicBezTo>
                    <a:pt x="1" y="722"/>
                    <a:pt x="1" y="722"/>
                    <a:pt x="1" y="722"/>
                  </a:cubicBezTo>
                  <a:cubicBezTo>
                    <a:pt x="0" y="771"/>
                    <a:pt x="0" y="771"/>
                    <a:pt x="0" y="771"/>
                  </a:cubicBezTo>
                  <a:cubicBezTo>
                    <a:pt x="3" y="772"/>
                    <a:pt x="6" y="774"/>
                    <a:pt x="8" y="776"/>
                  </a:cubicBezTo>
                  <a:close/>
                </a:path>
              </a:pathLst>
            </a:cu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4688" y="4520206"/>
            <a:ext cx="10845800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9451" y="1859556"/>
            <a:ext cx="10845800" cy="2477922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67260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2" name="矩形 9791">
            <a:extLst>
              <a:ext uri="{FF2B5EF4-FFF2-40B4-BE49-F238E27FC236}">
                <a16:creationId xmlns:a16="http://schemas.microsoft.com/office/drawing/2014/main" xmlns="" id="{22211B81-DF9C-4635-BA56-35555599CC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xmlns="" id="{31DBFAA4-AC9F-4FAD-B778-21ACE40CC918}"/>
              </a:ext>
            </a:extLst>
          </p:cNvPr>
          <p:cNvGrpSpPr/>
          <p:nvPr userDrawn="1"/>
        </p:nvGrpSpPr>
        <p:grpSpPr>
          <a:xfrm>
            <a:off x="817563" y="3175000"/>
            <a:ext cx="10702925" cy="3683000"/>
            <a:chOff x="744538" y="1584325"/>
            <a:chExt cx="10702925" cy="3683000"/>
          </a:xfrm>
          <a:solidFill>
            <a:schemeClr val="bg1">
              <a:alpha val="17000"/>
            </a:schemeClr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7F6A65E-08CA-4A18-BE26-F171EB6CF5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46288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2978079F-4624-4021-9CA3-04942E3795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2063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6C74C47C-AA3E-45F9-B019-B490D1045C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86051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43987C17-9468-4F0A-B62A-148ED7CA5C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17851" y="4478338"/>
              <a:ext cx="103188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2D392D9A-7E47-44C0-B007-B673C443DF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73426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32CAD03A-4C0D-4EAA-9A26-C71629177F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699000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xmlns="" id="{F7134F00-5227-48E0-A1F0-563AB0FEA1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854575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xmlns="" id="{5470E1F3-ECB5-4218-BDCF-2E56412EBD1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663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Rectangle 13">
              <a:extLst>
                <a:ext uri="{FF2B5EF4-FFF2-40B4-BE49-F238E27FC236}">
                  <a16:creationId xmlns:a16="http://schemas.microsoft.com/office/drawing/2014/main" xmlns="" id="{86FBB4F4-A6AB-40FE-A0A6-FA31CB2D66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11651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Rectangle 14">
              <a:extLst>
                <a:ext uri="{FF2B5EF4-FFF2-40B4-BE49-F238E27FC236}">
                  <a16:creationId xmlns:a16="http://schemas.microsoft.com/office/drawing/2014/main" xmlns="" id="{BEC3C37F-A752-4F5B-B610-CC7E6EF1F9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86276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xmlns="" id="{0BDC3375-B3D3-467B-9086-8339FB6DD1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6418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Rectangle 16">
              <a:extLst>
                <a:ext uri="{FF2B5EF4-FFF2-40B4-BE49-F238E27FC236}">
                  <a16:creationId xmlns:a16="http://schemas.microsoft.com/office/drawing/2014/main" xmlns="" id="{68888DE7-1D00-4CE5-AAA0-C26EF0D2D7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816476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Rectangle 17">
              <a:extLst>
                <a:ext uri="{FF2B5EF4-FFF2-40B4-BE49-F238E27FC236}">
                  <a16:creationId xmlns:a16="http://schemas.microsoft.com/office/drawing/2014/main" xmlns="" id="{B0BC2A9D-A44C-4E66-BB5F-8C4502F795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720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Rectangle 18">
              <a:extLst>
                <a:ext uri="{FF2B5EF4-FFF2-40B4-BE49-F238E27FC236}">
                  <a16:creationId xmlns:a16="http://schemas.microsoft.com/office/drawing/2014/main" xmlns="" id="{98AE2389-3E02-4081-8DD7-04EA81E240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46676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Rectangle 19">
              <a:extLst>
                <a:ext uri="{FF2B5EF4-FFF2-40B4-BE49-F238E27FC236}">
                  <a16:creationId xmlns:a16="http://schemas.microsoft.com/office/drawing/2014/main" xmlns="" id="{5559C308-2BF5-4B7E-818F-CD1A7DD8B8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0663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Rectangle 20">
              <a:extLst>
                <a:ext uri="{FF2B5EF4-FFF2-40B4-BE49-F238E27FC236}">
                  <a16:creationId xmlns:a16="http://schemas.microsoft.com/office/drawing/2014/main" xmlns="" id="{5ECB3F3E-9BEE-4057-9589-4A20DB8F55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5288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Rectangle 21">
              <a:extLst>
                <a:ext uri="{FF2B5EF4-FFF2-40B4-BE49-F238E27FC236}">
                  <a16:creationId xmlns:a16="http://schemas.microsoft.com/office/drawing/2014/main" xmlns="" id="{20ADAC72-7ACB-472D-A047-4EAF78D451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4038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Rectangle 22">
              <a:extLst>
                <a:ext uri="{FF2B5EF4-FFF2-40B4-BE49-F238E27FC236}">
                  <a16:creationId xmlns:a16="http://schemas.microsoft.com/office/drawing/2014/main" xmlns="" id="{BBEDC840-FE57-4A8C-A8BB-6538FF6DC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8663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Rectangle 23">
              <a:extLst>
                <a:ext uri="{FF2B5EF4-FFF2-40B4-BE49-F238E27FC236}">
                  <a16:creationId xmlns:a16="http://schemas.microsoft.com/office/drawing/2014/main" xmlns="" id="{7519A4C1-179E-4584-816E-BB4E0B9490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64238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xmlns="" id="{E14551D9-01C2-49F5-A4A8-7A45471B0E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69551" y="2533650"/>
              <a:ext cx="661988" cy="777875"/>
            </a:xfrm>
            <a:custGeom>
              <a:avLst/>
              <a:gdLst>
                <a:gd name="T0" fmla="*/ 201 w 201"/>
                <a:gd name="T1" fmla="*/ 43 h 236"/>
                <a:gd name="T2" fmla="*/ 160 w 201"/>
                <a:gd name="T3" fmla="*/ 86 h 236"/>
                <a:gd name="T4" fmla="*/ 148 w 201"/>
                <a:gd name="T5" fmla="*/ 87 h 236"/>
                <a:gd name="T6" fmla="*/ 154 w 201"/>
                <a:gd name="T7" fmla="*/ 98 h 236"/>
                <a:gd name="T8" fmla="*/ 161 w 201"/>
                <a:gd name="T9" fmla="*/ 125 h 236"/>
                <a:gd name="T10" fmla="*/ 113 w 201"/>
                <a:gd name="T11" fmla="*/ 181 h 236"/>
                <a:gd name="T12" fmla="*/ 106 w 201"/>
                <a:gd name="T13" fmla="*/ 182 h 236"/>
                <a:gd name="T14" fmla="*/ 106 w 201"/>
                <a:gd name="T15" fmla="*/ 188 h 236"/>
                <a:gd name="T16" fmla="*/ 53 w 201"/>
                <a:gd name="T17" fmla="*/ 236 h 236"/>
                <a:gd name="T18" fmla="*/ 0 w 201"/>
                <a:gd name="T19" fmla="*/ 183 h 236"/>
                <a:gd name="T20" fmla="*/ 41 w 201"/>
                <a:gd name="T21" fmla="*/ 131 h 236"/>
                <a:gd name="T22" fmla="*/ 47 w 201"/>
                <a:gd name="T23" fmla="*/ 129 h 236"/>
                <a:gd name="T24" fmla="*/ 47 w 201"/>
                <a:gd name="T25" fmla="*/ 123 h 236"/>
                <a:gd name="T26" fmla="*/ 49 w 201"/>
                <a:gd name="T27" fmla="*/ 110 h 236"/>
                <a:gd name="T28" fmla="*/ 50 w 201"/>
                <a:gd name="T29" fmla="*/ 107 h 236"/>
                <a:gd name="T30" fmla="*/ 48 w 201"/>
                <a:gd name="T31" fmla="*/ 104 h 236"/>
                <a:gd name="T32" fmla="*/ 41 w 201"/>
                <a:gd name="T33" fmla="*/ 77 h 236"/>
                <a:gd name="T34" fmla="*/ 90 w 201"/>
                <a:gd name="T35" fmla="*/ 27 h 236"/>
                <a:gd name="T36" fmla="*/ 108 w 201"/>
                <a:gd name="T37" fmla="*/ 31 h 236"/>
                <a:gd name="T38" fmla="*/ 116 w 201"/>
                <a:gd name="T39" fmla="*/ 34 h 236"/>
                <a:gd name="T40" fmla="*/ 119 w 201"/>
                <a:gd name="T41" fmla="*/ 26 h 236"/>
                <a:gd name="T42" fmla="*/ 158 w 201"/>
                <a:gd name="T43" fmla="*/ 0 h 236"/>
                <a:gd name="T44" fmla="*/ 201 w 201"/>
                <a:gd name="T45" fmla="*/ 4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1" h="236">
                  <a:moveTo>
                    <a:pt x="201" y="43"/>
                  </a:moveTo>
                  <a:cubicBezTo>
                    <a:pt x="201" y="66"/>
                    <a:pt x="183" y="85"/>
                    <a:pt x="160" y="86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8" y="106"/>
                    <a:pt x="161" y="115"/>
                    <a:pt x="161" y="125"/>
                  </a:cubicBezTo>
                  <a:cubicBezTo>
                    <a:pt x="161" y="153"/>
                    <a:pt x="140" y="176"/>
                    <a:pt x="113" y="181"/>
                  </a:cubicBezTo>
                  <a:cubicBezTo>
                    <a:pt x="106" y="182"/>
                    <a:pt x="106" y="182"/>
                    <a:pt x="106" y="182"/>
                  </a:cubicBezTo>
                  <a:cubicBezTo>
                    <a:pt x="106" y="188"/>
                    <a:pt x="106" y="188"/>
                    <a:pt x="106" y="188"/>
                  </a:cubicBezTo>
                  <a:cubicBezTo>
                    <a:pt x="103" y="215"/>
                    <a:pt x="80" y="236"/>
                    <a:pt x="53" y="236"/>
                  </a:cubicBezTo>
                  <a:cubicBezTo>
                    <a:pt x="24" y="236"/>
                    <a:pt x="0" y="212"/>
                    <a:pt x="0" y="183"/>
                  </a:cubicBezTo>
                  <a:cubicBezTo>
                    <a:pt x="0" y="158"/>
                    <a:pt x="17" y="136"/>
                    <a:pt x="41" y="131"/>
                  </a:cubicBezTo>
                  <a:cubicBezTo>
                    <a:pt x="47" y="129"/>
                    <a:pt x="47" y="129"/>
                    <a:pt x="47" y="129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8" y="119"/>
                    <a:pt x="48" y="114"/>
                    <a:pt x="49" y="110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3" y="96"/>
                    <a:pt x="41" y="87"/>
                    <a:pt x="41" y="77"/>
                  </a:cubicBezTo>
                  <a:cubicBezTo>
                    <a:pt x="41" y="50"/>
                    <a:pt x="63" y="27"/>
                    <a:pt x="90" y="27"/>
                  </a:cubicBezTo>
                  <a:cubicBezTo>
                    <a:pt x="96" y="27"/>
                    <a:pt x="103" y="29"/>
                    <a:pt x="108" y="31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25" y="10"/>
                    <a:pt x="141" y="0"/>
                    <a:pt x="158" y="0"/>
                  </a:cubicBezTo>
                  <a:cubicBezTo>
                    <a:pt x="182" y="0"/>
                    <a:pt x="201" y="19"/>
                    <a:pt x="201" y="43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xmlns="" id="{14349970-D9D4-4DCF-B89C-B16F38C7C0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5363" y="1584325"/>
              <a:ext cx="1598613" cy="1150938"/>
            </a:xfrm>
            <a:custGeom>
              <a:avLst/>
              <a:gdLst>
                <a:gd name="T0" fmla="*/ 469 w 485"/>
                <a:gd name="T1" fmla="*/ 103 h 349"/>
                <a:gd name="T2" fmla="*/ 409 w 485"/>
                <a:gd name="T3" fmla="*/ 105 h 349"/>
                <a:gd name="T4" fmla="*/ 396 w 485"/>
                <a:gd name="T5" fmla="*/ 109 h 349"/>
                <a:gd name="T6" fmla="*/ 375 w 485"/>
                <a:gd name="T7" fmla="*/ 140 h 349"/>
                <a:gd name="T8" fmla="*/ 371 w 485"/>
                <a:gd name="T9" fmla="*/ 148 h 349"/>
                <a:gd name="T10" fmla="*/ 330 w 485"/>
                <a:gd name="T11" fmla="*/ 202 h 349"/>
                <a:gd name="T12" fmla="*/ 306 w 485"/>
                <a:gd name="T13" fmla="*/ 196 h 349"/>
                <a:gd name="T14" fmla="*/ 306 w 485"/>
                <a:gd name="T15" fmla="*/ 237 h 349"/>
                <a:gd name="T16" fmla="*/ 242 w 485"/>
                <a:gd name="T17" fmla="*/ 274 h 349"/>
                <a:gd name="T18" fmla="*/ 234 w 485"/>
                <a:gd name="T19" fmla="*/ 279 h 349"/>
                <a:gd name="T20" fmla="*/ 168 w 485"/>
                <a:gd name="T21" fmla="*/ 307 h 349"/>
                <a:gd name="T22" fmla="*/ 133 w 485"/>
                <a:gd name="T23" fmla="*/ 270 h 349"/>
                <a:gd name="T24" fmla="*/ 127 w 485"/>
                <a:gd name="T25" fmla="*/ 269 h 349"/>
                <a:gd name="T26" fmla="*/ 117 w 485"/>
                <a:gd name="T27" fmla="*/ 274 h 349"/>
                <a:gd name="T28" fmla="*/ 95 w 485"/>
                <a:gd name="T29" fmla="*/ 298 h 349"/>
                <a:gd name="T30" fmla="*/ 59 w 485"/>
                <a:gd name="T31" fmla="*/ 327 h 349"/>
                <a:gd name="T32" fmla="*/ 39 w 485"/>
                <a:gd name="T33" fmla="*/ 323 h 349"/>
                <a:gd name="T34" fmla="*/ 37 w 485"/>
                <a:gd name="T35" fmla="*/ 336 h 349"/>
                <a:gd name="T36" fmla="*/ 19 w 485"/>
                <a:gd name="T37" fmla="*/ 349 h 349"/>
                <a:gd name="T38" fmla="*/ 2 w 485"/>
                <a:gd name="T39" fmla="*/ 338 h 349"/>
                <a:gd name="T40" fmla="*/ 17 w 485"/>
                <a:gd name="T41" fmla="*/ 311 h 349"/>
                <a:gd name="T42" fmla="*/ 24 w 485"/>
                <a:gd name="T43" fmla="*/ 301 h 349"/>
                <a:gd name="T44" fmla="*/ 24 w 485"/>
                <a:gd name="T45" fmla="*/ 281 h 349"/>
                <a:gd name="T46" fmla="*/ 18 w 485"/>
                <a:gd name="T47" fmla="*/ 235 h 349"/>
                <a:gd name="T48" fmla="*/ 74 w 485"/>
                <a:gd name="T49" fmla="*/ 199 h 349"/>
                <a:gd name="T50" fmla="*/ 82 w 485"/>
                <a:gd name="T51" fmla="*/ 194 h 349"/>
                <a:gd name="T52" fmla="*/ 90 w 485"/>
                <a:gd name="T53" fmla="*/ 179 h 349"/>
                <a:gd name="T54" fmla="*/ 91 w 485"/>
                <a:gd name="T55" fmla="*/ 148 h 349"/>
                <a:gd name="T56" fmla="*/ 154 w 485"/>
                <a:gd name="T57" fmla="*/ 117 h 349"/>
                <a:gd name="T58" fmla="*/ 176 w 485"/>
                <a:gd name="T59" fmla="*/ 131 h 349"/>
                <a:gd name="T60" fmla="*/ 206 w 485"/>
                <a:gd name="T61" fmla="*/ 111 h 349"/>
                <a:gd name="T62" fmla="*/ 212 w 485"/>
                <a:gd name="T63" fmla="*/ 103 h 349"/>
                <a:gd name="T64" fmla="*/ 265 w 485"/>
                <a:gd name="T65" fmla="*/ 46 h 349"/>
                <a:gd name="T66" fmla="*/ 298 w 485"/>
                <a:gd name="T67" fmla="*/ 57 h 349"/>
                <a:gd name="T68" fmla="*/ 313 w 485"/>
                <a:gd name="T69" fmla="*/ 45 h 349"/>
                <a:gd name="T70" fmla="*/ 317 w 485"/>
                <a:gd name="T71" fmla="*/ 40 h 349"/>
                <a:gd name="T72" fmla="*/ 366 w 485"/>
                <a:gd name="T73" fmla="*/ 0 h 349"/>
                <a:gd name="T74" fmla="*/ 411 w 485"/>
                <a:gd name="T75" fmla="*/ 30 h 349"/>
                <a:gd name="T76" fmla="*/ 421 w 485"/>
                <a:gd name="T77" fmla="*/ 34 h 349"/>
                <a:gd name="T78" fmla="*/ 468 w 485"/>
                <a:gd name="T79" fmla="*/ 4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5" h="349">
                  <a:moveTo>
                    <a:pt x="468" y="42"/>
                  </a:moveTo>
                  <a:cubicBezTo>
                    <a:pt x="485" y="59"/>
                    <a:pt x="485" y="86"/>
                    <a:pt x="469" y="103"/>
                  </a:cubicBezTo>
                  <a:cubicBezTo>
                    <a:pt x="461" y="112"/>
                    <a:pt x="450" y="116"/>
                    <a:pt x="438" y="116"/>
                  </a:cubicBezTo>
                  <a:cubicBezTo>
                    <a:pt x="427" y="116"/>
                    <a:pt x="417" y="112"/>
                    <a:pt x="409" y="105"/>
                  </a:cubicBezTo>
                  <a:cubicBezTo>
                    <a:pt x="400" y="97"/>
                    <a:pt x="400" y="97"/>
                    <a:pt x="400" y="97"/>
                  </a:cubicBezTo>
                  <a:cubicBezTo>
                    <a:pt x="396" y="109"/>
                    <a:pt x="396" y="109"/>
                    <a:pt x="396" y="109"/>
                  </a:cubicBezTo>
                  <a:cubicBezTo>
                    <a:pt x="394" y="118"/>
                    <a:pt x="389" y="126"/>
                    <a:pt x="383" y="133"/>
                  </a:cubicBezTo>
                  <a:cubicBezTo>
                    <a:pt x="380" y="136"/>
                    <a:pt x="378" y="138"/>
                    <a:pt x="375" y="140"/>
                  </a:cubicBezTo>
                  <a:cubicBezTo>
                    <a:pt x="370" y="143"/>
                    <a:pt x="370" y="143"/>
                    <a:pt x="370" y="143"/>
                  </a:cubicBezTo>
                  <a:cubicBezTo>
                    <a:pt x="371" y="148"/>
                    <a:pt x="371" y="148"/>
                    <a:pt x="371" y="148"/>
                  </a:cubicBezTo>
                  <a:cubicBezTo>
                    <a:pt x="373" y="156"/>
                    <a:pt x="373" y="165"/>
                    <a:pt x="370" y="172"/>
                  </a:cubicBezTo>
                  <a:cubicBezTo>
                    <a:pt x="365" y="190"/>
                    <a:pt x="348" y="202"/>
                    <a:pt x="330" y="202"/>
                  </a:cubicBezTo>
                  <a:cubicBezTo>
                    <a:pt x="326" y="202"/>
                    <a:pt x="322" y="201"/>
                    <a:pt x="318" y="200"/>
                  </a:cubicBezTo>
                  <a:cubicBezTo>
                    <a:pt x="306" y="196"/>
                    <a:pt x="306" y="196"/>
                    <a:pt x="306" y="196"/>
                  </a:cubicBezTo>
                  <a:cubicBezTo>
                    <a:pt x="308" y="209"/>
                    <a:pt x="308" y="209"/>
                    <a:pt x="308" y="209"/>
                  </a:cubicBezTo>
                  <a:cubicBezTo>
                    <a:pt x="309" y="218"/>
                    <a:pt x="309" y="228"/>
                    <a:pt x="306" y="237"/>
                  </a:cubicBezTo>
                  <a:cubicBezTo>
                    <a:pt x="298" y="260"/>
                    <a:pt x="276" y="275"/>
                    <a:pt x="252" y="275"/>
                  </a:cubicBezTo>
                  <a:cubicBezTo>
                    <a:pt x="249" y="275"/>
                    <a:pt x="246" y="275"/>
                    <a:pt x="242" y="274"/>
                  </a:cubicBezTo>
                  <a:cubicBezTo>
                    <a:pt x="236" y="273"/>
                    <a:pt x="236" y="273"/>
                    <a:pt x="236" y="273"/>
                  </a:cubicBezTo>
                  <a:cubicBezTo>
                    <a:pt x="234" y="279"/>
                    <a:pt x="234" y="279"/>
                    <a:pt x="234" y="279"/>
                  </a:cubicBezTo>
                  <a:cubicBezTo>
                    <a:pt x="225" y="298"/>
                    <a:pt x="206" y="310"/>
                    <a:pt x="185" y="310"/>
                  </a:cubicBezTo>
                  <a:cubicBezTo>
                    <a:pt x="179" y="310"/>
                    <a:pt x="174" y="309"/>
                    <a:pt x="168" y="307"/>
                  </a:cubicBezTo>
                  <a:cubicBezTo>
                    <a:pt x="153" y="302"/>
                    <a:pt x="141" y="290"/>
                    <a:pt x="135" y="275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8" y="269"/>
                    <a:pt x="127" y="269"/>
                    <a:pt x="127" y="269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17" y="274"/>
                    <a:pt x="117" y="274"/>
                    <a:pt x="117" y="274"/>
                  </a:cubicBezTo>
                  <a:cubicBezTo>
                    <a:pt x="113" y="283"/>
                    <a:pt x="106" y="291"/>
                    <a:pt x="97" y="296"/>
                  </a:cubicBezTo>
                  <a:cubicBezTo>
                    <a:pt x="95" y="298"/>
                    <a:pt x="95" y="298"/>
                    <a:pt x="95" y="298"/>
                  </a:cubicBezTo>
                  <a:cubicBezTo>
                    <a:pt x="93" y="302"/>
                    <a:pt x="93" y="302"/>
                    <a:pt x="93" y="302"/>
                  </a:cubicBezTo>
                  <a:cubicBezTo>
                    <a:pt x="88" y="317"/>
                    <a:pt x="75" y="327"/>
                    <a:pt x="59" y="327"/>
                  </a:cubicBezTo>
                  <a:cubicBezTo>
                    <a:pt x="55" y="327"/>
                    <a:pt x="52" y="326"/>
                    <a:pt x="48" y="325"/>
                  </a:cubicBezTo>
                  <a:cubicBezTo>
                    <a:pt x="39" y="323"/>
                    <a:pt x="39" y="323"/>
                    <a:pt x="39" y="323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38" y="333"/>
                    <a:pt x="38" y="335"/>
                    <a:pt x="37" y="336"/>
                  </a:cubicBezTo>
                  <a:cubicBezTo>
                    <a:pt x="36" y="340"/>
                    <a:pt x="33" y="343"/>
                    <a:pt x="30" y="345"/>
                  </a:cubicBezTo>
                  <a:cubicBezTo>
                    <a:pt x="27" y="347"/>
                    <a:pt x="23" y="349"/>
                    <a:pt x="19" y="349"/>
                  </a:cubicBezTo>
                  <a:cubicBezTo>
                    <a:pt x="17" y="349"/>
                    <a:pt x="15" y="348"/>
                    <a:pt x="13" y="348"/>
                  </a:cubicBezTo>
                  <a:cubicBezTo>
                    <a:pt x="9" y="346"/>
                    <a:pt x="5" y="343"/>
                    <a:pt x="2" y="338"/>
                  </a:cubicBezTo>
                  <a:cubicBezTo>
                    <a:pt x="0" y="334"/>
                    <a:pt x="0" y="328"/>
                    <a:pt x="1" y="324"/>
                  </a:cubicBezTo>
                  <a:cubicBezTo>
                    <a:pt x="4" y="317"/>
                    <a:pt x="10" y="312"/>
                    <a:pt x="17" y="311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4" y="301"/>
                    <a:pt x="24" y="301"/>
                    <a:pt x="24" y="301"/>
                  </a:cubicBezTo>
                  <a:cubicBezTo>
                    <a:pt x="22" y="295"/>
                    <a:pt x="22" y="289"/>
                    <a:pt x="23" y="284"/>
                  </a:cubicBezTo>
                  <a:cubicBezTo>
                    <a:pt x="24" y="281"/>
                    <a:pt x="24" y="281"/>
                    <a:pt x="24" y="281"/>
                  </a:cubicBezTo>
                  <a:cubicBezTo>
                    <a:pt x="22" y="278"/>
                    <a:pt x="22" y="278"/>
                    <a:pt x="22" y="278"/>
                  </a:cubicBezTo>
                  <a:cubicBezTo>
                    <a:pt x="15" y="265"/>
                    <a:pt x="13" y="249"/>
                    <a:pt x="18" y="235"/>
                  </a:cubicBezTo>
                  <a:cubicBezTo>
                    <a:pt x="25" y="213"/>
                    <a:pt x="46" y="198"/>
                    <a:pt x="68" y="198"/>
                  </a:cubicBezTo>
                  <a:cubicBezTo>
                    <a:pt x="70" y="198"/>
                    <a:pt x="72" y="199"/>
                    <a:pt x="74" y="199"/>
                  </a:cubicBezTo>
                  <a:cubicBezTo>
                    <a:pt x="80" y="199"/>
                    <a:pt x="80" y="199"/>
                    <a:pt x="80" y="199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4" y="190"/>
                    <a:pt x="86" y="186"/>
                    <a:pt x="88" y="182"/>
                  </a:cubicBezTo>
                  <a:cubicBezTo>
                    <a:pt x="90" y="179"/>
                    <a:pt x="90" y="179"/>
                    <a:pt x="90" y="179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7" y="166"/>
                    <a:pt x="88" y="157"/>
                    <a:pt x="91" y="148"/>
                  </a:cubicBezTo>
                  <a:cubicBezTo>
                    <a:pt x="97" y="128"/>
                    <a:pt x="116" y="114"/>
                    <a:pt x="138" y="114"/>
                  </a:cubicBezTo>
                  <a:cubicBezTo>
                    <a:pt x="143" y="114"/>
                    <a:pt x="149" y="115"/>
                    <a:pt x="154" y="117"/>
                  </a:cubicBezTo>
                  <a:cubicBezTo>
                    <a:pt x="160" y="119"/>
                    <a:pt x="165" y="122"/>
                    <a:pt x="170" y="126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1" y="125"/>
                    <a:pt x="181" y="125"/>
                    <a:pt x="181" y="125"/>
                  </a:cubicBezTo>
                  <a:cubicBezTo>
                    <a:pt x="187" y="118"/>
                    <a:pt x="196" y="113"/>
                    <a:pt x="206" y="111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2" y="103"/>
                    <a:pt x="212" y="103"/>
                    <a:pt x="212" y="103"/>
                  </a:cubicBezTo>
                  <a:cubicBezTo>
                    <a:pt x="211" y="88"/>
                    <a:pt x="217" y="73"/>
                    <a:pt x="227" y="62"/>
                  </a:cubicBezTo>
                  <a:cubicBezTo>
                    <a:pt x="237" y="52"/>
                    <a:pt x="251" y="46"/>
                    <a:pt x="265" y="46"/>
                  </a:cubicBezTo>
                  <a:cubicBezTo>
                    <a:pt x="275" y="46"/>
                    <a:pt x="285" y="49"/>
                    <a:pt x="293" y="54"/>
                  </a:cubicBezTo>
                  <a:cubicBezTo>
                    <a:pt x="298" y="57"/>
                    <a:pt x="298" y="57"/>
                    <a:pt x="298" y="57"/>
                  </a:cubicBezTo>
                  <a:cubicBezTo>
                    <a:pt x="303" y="53"/>
                    <a:pt x="303" y="53"/>
                    <a:pt x="303" y="53"/>
                  </a:cubicBezTo>
                  <a:cubicBezTo>
                    <a:pt x="306" y="50"/>
                    <a:pt x="309" y="47"/>
                    <a:pt x="313" y="45"/>
                  </a:cubicBezTo>
                  <a:cubicBezTo>
                    <a:pt x="316" y="43"/>
                    <a:pt x="316" y="43"/>
                    <a:pt x="316" y="43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19" y="31"/>
                    <a:pt x="323" y="22"/>
                    <a:pt x="330" y="15"/>
                  </a:cubicBezTo>
                  <a:cubicBezTo>
                    <a:pt x="339" y="6"/>
                    <a:pt x="352" y="0"/>
                    <a:pt x="366" y="0"/>
                  </a:cubicBezTo>
                  <a:cubicBezTo>
                    <a:pt x="379" y="0"/>
                    <a:pt x="391" y="5"/>
                    <a:pt x="400" y="14"/>
                  </a:cubicBezTo>
                  <a:cubicBezTo>
                    <a:pt x="405" y="19"/>
                    <a:pt x="408" y="24"/>
                    <a:pt x="411" y="30"/>
                  </a:cubicBezTo>
                  <a:cubicBezTo>
                    <a:pt x="414" y="37"/>
                    <a:pt x="414" y="37"/>
                    <a:pt x="414" y="37"/>
                  </a:cubicBezTo>
                  <a:cubicBezTo>
                    <a:pt x="421" y="34"/>
                    <a:pt x="421" y="34"/>
                    <a:pt x="421" y="34"/>
                  </a:cubicBezTo>
                  <a:cubicBezTo>
                    <a:pt x="427" y="31"/>
                    <a:pt x="432" y="30"/>
                    <a:pt x="438" y="30"/>
                  </a:cubicBezTo>
                  <a:cubicBezTo>
                    <a:pt x="449" y="30"/>
                    <a:pt x="460" y="35"/>
                    <a:pt x="468" y="42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Rectangle 26">
              <a:extLst>
                <a:ext uri="{FF2B5EF4-FFF2-40B4-BE49-F238E27FC236}">
                  <a16:creationId xmlns:a16="http://schemas.microsoft.com/office/drawing/2014/main" xmlns="" id="{18B3AF1B-B436-4804-896F-B47F18ED67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92301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xmlns="" id="{54846F54-2664-41F1-89B3-D6A85FED0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538" y="2444750"/>
              <a:ext cx="10702925" cy="2822575"/>
            </a:xfrm>
            <a:custGeom>
              <a:avLst/>
              <a:gdLst>
                <a:gd name="T0" fmla="*/ 87 w 3246"/>
                <a:gd name="T1" fmla="*/ 244 h 856"/>
                <a:gd name="T2" fmla="*/ 192 w 3246"/>
                <a:gd name="T3" fmla="*/ 236 h 856"/>
                <a:gd name="T4" fmla="*/ 302 w 3246"/>
                <a:gd name="T5" fmla="*/ 527 h 856"/>
                <a:gd name="T6" fmla="*/ 859 w 3246"/>
                <a:gd name="T7" fmla="*/ 473 h 856"/>
                <a:gd name="T8" fmla="*/ 1099 w 3246"/>
                <a:gd name="T9" fmla="*/ 441 h 856"/>
                <a:gd name="T10" fmla="*/ 1116 w 3246"/>
                <a:gd name="T11" fmla="*/ 216 h 856"/>
                <a:gd name="T12" fmla="*/ 1164 w 3246"/>
                <a:gd name="T13" fmla="*/ 441 h 856"/>
                <a:gd name="T14" fmla="*/ 1312 w 3246"/>
                <a:gd name="T15" fmla="*/ 441 h 856"/>
                <a:gd name="T16" fmla="*/ 1358 w 3246"/>
                <a:gd name="T17" fmla="*/ 105 h 856"/>
                <a:gd name="T18" fmla="*/ 1378 w 3246"/>
                <a:gd name="T19" fmla="*/ 441 h 856"/>
                <a:gd name="T20" fmla="*/ 1526 w 3246"/>
                <a:gd name="T21" fmla="*/ 14 h 856"/>
                <a:gd name="T22" fmla="*/ 1568 w 3246"/>
                <a:gd name="T23" fmla="*/ 10 h 856"/>
                <a:gd name="T24" fmla="*/ 1596 w 3246"/>
                <a:gd name="T25" fmla="*/ 573 h 856"/>
                <a:gd name="T26" fmla="*/ 1828 w 3246"/>
                <a:gd name="T27" fmla="*/ 684 h 856"/>
                <a:gd name="T28" fmla="*/ 1877 w 3246"/>
                <a:gd name="T29" fmla="*/ 495 h 856"/>
                <a:gd name="T30" fmla="*/ 1876 w 3246"/>
                <a:gd name="T31" fmla="*/ 300 h 856"/>
                <a:gd name="T32" fmla="*/ 1974 w 3246"/>
                <a:gd name="T33" fmla="*/ 207 h 856"/>
                <a:gd name="T34" fmla="*/ 2071 w 3246"/>
                <a:gd name="T35" fmla="*/ 484 h 856"/>
                <a:gd name="T36" fmla="*/ 2035 w 3246"/>
                <a:gd name="T37" fmla="*/ 554 h 856"/>
                <a:gd name="T38" fmla="*/ 2220 w 3246"/>
                <a:gd name="T39" fmla="*/ 624 h 856"/>
                <a:gd name="T40" fmla="*/ 2300 w 3246"/>
                <a:gd name="T41" fmla="*/ 490 h 856"/>
                <a:gd name="T42" fmla="*/ 2432 w 3246"/>
                <a:gd name="T43" fmla="*/ 450 h 856"/>
                <a:gd name="T44" fmla="*/ 2631 w 3246"/>
                <a:gd name="T45" fmla="*/ 729 h 856"/>
                <a:gd name="T46" fmla="*/ 2872 w 3246"/>
                <a:gd name="T47" fmla="*/ 443 h 856"/>
                <a:gd name="T48" fmla="*/ 2875 w 3246"/>
                <a:gd name="T49" fmla="*/ 395 h 856"/>
                <a:gd name="T50" fmla="*/ 3036 w 3246"/>
                <a:gd name="T51" fmla="*/ 350 h 856"/>
                <a:gd name="T52" fmla="*/ 3027 w 3246"/>
                <a:gd name="T53" fmla="*/ 410 h 856"/>
                <a:gd name="T54" fmla="*/ 3236 w 3246"/>
                <a:gd name="T55" fmla="*/ 837 h 856"/>
                <a:gd name="T56" fmla="*/ 3237 w 3246"/>
                <a:gd name="T57" fmla="*/ 829 h 856"/>
                <a:gd name="T58" fmla="*/ 3036 w 3246"/>
                <a:gd name="T59" fmla="*/ 432 h 856"/>
                <a:gd name="T60" fmla="*/ 3035 w 3246"/>
                <a:gd name="T61" fmla="*/ 410 h 856"/>
                <a:gd name="T62" fmla="*/ 3035 w 3246"/>
                <a:gd name="T63" fmla="*/ 378 h 856"/>
                <a:gd name="T64" fmla="*/ 2857 w 3246"/>
                <a:gd name="T65" fmla="*/ 358 h 856"/>
                <a:gd name="T66" fmla="*/ 2867 w 3246"/>
                <a:gd name="T67" fmla="*/ 390 h 856"/>
                <a:gd name="T68" fmla="*/ 2862 w 3246"/>
                <a:gd name="T69" fmla="*/ 425 h 856"/>
                <a:gd name="T70" fmla="*/ 2741 w 3246"/>
                <a:gd name="T71" fmla="*/ 829 h 856"/>
                <a:gd name="T72" fmla="*/ 2480 w 3246"/>
                <a:gd name="T73" fmla="*/ 616 h 856"/>
                <a:gd name="T74" fmla="*/ 2385 w 3246"/>
                <a:gd name="T75" fmla="*/ 490 h 856"/>
                <a:gd name="T76" fmla="*/ 2259 w 3246"/>
                <a:gd name="T77" fmla="*/ 442 h 856"/>
                <a:gd name="T78" fmla="*/ 2158 w 3246"/>
                <a:gd name="T79" fmla="*/ 676 h 856"/>
                <a:gd name="T80" fmla="*/ 2044 w 3246"/>
                <a:gd name="T81" fmla="*/ 549 h 856"/>
                <a:gd name="T82" fmla="*/ 2069 w 3246"/>
                <a:gd name="T83" fmla="*/ 458 h 856"/>
                <a:gd name="T84" fmla="*/ 2069 w 3246"/>
                <a:gd name="T85" fmla="*/ 300 h 856"/>
                <a:gd name="T86" fmla="*/ 1957 w 3246"/>
                <a:gd name="T87" fmla="*/ 200 h 856"/>
                <a:gd name="T88" fmla="*/ 1866 w 3246"/>
                <a:gd name="T89" fmla="*/ 372 h 856"/>
                <a:gd name="T90" fmla="*/ 1868 w 3246"/>
                <a:gd name="T91" fmla="*/ 492 h 856"/>
                <a:gd name="T92" fmla="*/ 1827 w 3246"/>
                <a:gd name="T93" fmla="*/ 675 h 856"/>
                <a:gd name="T94" fmla="*/ 1694 w 3246"/>
                <a:gd name="T95" fmla="*/ 565 h 856"/>
                <a:gd name="T96" fmla="*/ 1570 w 3246"/>
                <a:gd name="T97" fmla="*/ 18 h 856"/>
                <a:gd name="T98" fmla="*/ 1515 w 3246"/>
                <a:gd name="T99" fmla="*/ 19 h 856"/>
                <a:gd name="T100" fmla="*/ 1396 w 3246"/>
                <a:gd name="T101" fmla="*/ 565 h 856"/>
                <a:gd name="T102" fmla="*/ 1368 w 3246"/>
                <a:gd name="T103" fmla="*/ 107 h 856"/>
                <a:gd name="T104" fmla="*/ 1311 w 3246"/>
                <a:gd name="T105" fmla="*/ 117 h 856"/>
                <a:gd name="T106" fmla="*/ 1187 w 3246"/>
                <a:gd name="T107" fmla="*/ 433 h 856"/>
                <a:gd name="T108" fmla="*/ 1165 w 3246"/>
                <a:gd name="T109" fmla="*/ 208 h 856"/>
                <a:gd name="T110" fmla="*/ 1111 w 3246"/>
                <a:gd name="T111" fmla="*/ 433 h 856"/>
                <a:gd name="T112" fmla="*/ 867 w 3246"/>
                <a:gd name="T113" fmla="*/ 684 h 856"/>
                <a:gd name="T114" fmla="*/ 486 w 3246"/>
                <a:gd name="T115" fmla="*/ 463 h 856"/>
                <a:gd name="T116" fmla="*/ 200 w 3246"/>
                <a:gd name="T117" fmla="*/ 236 h 856"/>
                <a:gd name="T118" fmla="*/ 62 w 3246"/>
                <a:gd name="T119" fmla="*/ 723 h 856"/>
                <a:gd name="T120" fmla="*/ 0 w 3246"/>
                <a:gd name="T121" fmla="*/ 771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46" h="856">
                  <a:moveTo>
                    <a:pt x="8" y="776"/>
                  </a:moveTo>
                  <a:cubicBezTo>
                    <a:pt x="9" y="725"/>
                    <a:pt x="9" y="725"/>
                    <a:pt x="9" y="725"/>
                  </a:cubicBezTo>
                  <a:cubicBezTo>
                    <a:pt x="16" y="726"/>
                    <a:pt x="33" y="728"/>
                    <a:pt x="65" y="731"/>
                  </a:cubicBezTo>
                  <a:cubicBezTo>
                    <a:pt x="69" y="732"/>
                    <a:pt x="69" y="732"/>
                    <a:pt x="69" y="732"/>
                  </a:cubicBezTo>
                  <a:cubicBezTo>
                    <a:pt x="87" y="244"/>
                    <a:pt x="87" y="244"/>
                    <a:pt x="87" y="244"/>
                  </a:cubicBezTo>
                  <a:cubicBezTo>
                    <a:pt x="80" y="244"/>
                    <a:pt x="80" y="244"/>
                    <a:pt x="80" y="244"/>
                  </a:cubicBezTo>
                  <a:cubicBezTo>
                    <a:pt x="76" y="244"/>
                    <a:pt x="73" y="240"/>
                    <a:pt x="73" y="236"/>
                  </a:cubicBezTo>
                  <a:cubicBezTo>
                    <a:pt x="73" y="232"/>
                    <a:pt x="76" y="229"/>
                    <a:pt x="80" y="229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88" y="229"/>
                    <a:pt x="192" y="232"/>
                    <a:pt x="192" y="236"/>
                  </a:cubicBezTo>
                  <a:cubicBezTo>
                    <a:pt x="192" y="240"/>
                    <a:pt x="188" y="244"/>
                    <a:pt x="184" y="244"/>
                  </a:cubicBezTo>
                  <a:cubicBezTo>
                    <a:pt x="176" y="244"/>
                    <a:pt x="176" y="244"/>
                    <a:pt x="176" y="244"/>
                  </a:cubicBezTo>
                  <a:cubicBezTo>
                    <a:pt x="191" y="692"/>
                    <a:pt x="191" y="692"/>
                    <a:pt x="191" y="692"/>
                  </a:cubicBezTo>
                  <a:cubicBezTo>
                    <a:pt x="302" y="692"/>
                    <a:pt x="302" y="692"/>
                    <a:pt x="302" y="692"/>
                  </a:cubicBezTo>
                  <a:cubicBezTo>
                    <a:pt x="302" y="527"/>
                    <a:pt x="302" y="527"/>
                    <a:pt x="302" y="527"/>
                  </a:cubicBezTo>
                  <a:cubicBezTo>
                    <a:pt x="478" y="473"/>
                    <a:pt x="478" y="473"/>
                    <a:pt x="478" y="473"/>
                  </a:cubicBezTo>
                  <a:cubicBezTo>
                    <a:pt x="478" y="531"/>
                    <a:pt x="478" y="531"/>
                    <a:pt x="478" y="531"/>
                  </a:cubicBezTo>
                  <a:cubicBezTo>
                    <a:pt x="669" y="473"/>
                    <a:pt x="669" y="473"/>
                    <a:pt x="669" y="473"/>
                  </a:cubicBezTo>
                  <a:cubicBezTo>
                    <a:pt x="669" y="531"/>
                    <a:pt x="669" y="531"/>
                    <a:pt x="669" y="531"/>
                  </a:cubicBezTo>
                  <a:cubicBezTo>
                    <a:pt x="859" y="473"/>
                    <a:pt x="859" y="473"/>
                    <a:pt x="859" y="473"/>
                  </a:cubicBezTo>
                  <a:cubicBezTo>
                    <a:pt x="859" y="692"/>
                    <a:pt x="859" y="692"/>
                    <a:pt x="859" y="692"/>
                  </a:cubicBezTo>
                  <a:cubicBezTo>
                    <a:pt x="981" y="698"/>
                    <a:pt x="981" y="698"/>
                    <a:pt x="981" y="698"/>
                  </a:cubicBezTo>
                  <a:cubicBezTo>
                    <a:pt x="981" y="573"/>
                    <a:pt x="981" y="573"/>
                    <a:pt x="981" y="573"/>
                  </a:cubicBezTo>
                  <a:cubicBezTo>
                    <a:pt x="1085" y="573"/>
                    <a:pt x="1085" y="573"/>
                    <a:pt x="1085" y="573"/>
                  </a:cubicBezTo>
                  <a:cubicBezTo>
                    <a:pt x="1099" y="441"/>
                    <a:pt x="1099" y="441"/>
                    <a:pt x="1099" y="441"/>
                  </a:cubicBezTo>
                  <a:cubicBezTo>
                    <a:pt x="1118" y="441"/>
                    <a:pt x="1118" y="441"/>
                    <a:pt x="1118" y="441"/>
                  </a:cubicBezTo>
                  <a:cubicBezTo>
                    <a:pt x="1125" y="222"/>
                    <a:pt x="1125" y="222"/>
                    <a:pt x="1125" y="222"/>
                  </a:cubicBezTo>
                  <a:cubicBezTo>
                    <a:pt x="1116" y="220"/>
                    <a:pt x="1116" y="220"/>
                    <a:pt x="1116" y="220"/>
                  </a:cubicBezTo>
                  <a:cubicBezTo>
                    <a:pt x="1115" y="219"/>
                    <a:pt x="1115" y="219"/>
                    <a:pt x="1115" y="218"/>
                  </a:cubicBezTo>
                  <a:cubicBezTo>
                    <a:pt x="1115" y="217"/>
                    <a:pt x="1115" y="216"/>
                    <a:pt x="1116" y="216"/>
                  </a:cubicBezTo>
                  <a:cubicBezTo>
                    <a:pt x="1165" y="216"/>
                    <a:pt x="1165" y="216"/>
                    <a:pt x="1165" y="216"/>
                  </a:cubicBezTo>
                  <a:cubicBezTo>
                    <a:pt x="1166" y="216"/>
                    <a:pt x="1167" y="217"/>
                    <a:pt x="1167" y="218"/>
                  </a:cubicBezTo>
                  <a:cubicBezTo>
                    <a:pt x="1167" y="219"/>
                    <a:pt x="1166" y="219"/>
                    <a:pt x="1166" y="220"/>
                  </a:cubicBezTo>
                  <a:cubicBezTo>
                    <a:pt x="1159" y="223"/>
                    <a:pt x="1159" y="223"/>
                    <a:pt x="1159" y="223"/>
                  </a:cubicBezTo>
                  <a:cubicBezTo>
                    <a:pt x="1164" y="441"/>
                    <a:pt x="1164" y="441"/>
                    <a:pt x="1164" y="441"/>
                  </a:cubicBezTo>
                  <a:cubicBezTo>
                    <a:pt x="1179" y="441"/>
                    <a:pt x="1179" y="441"/>
                    <a:pt x="1179" y="441"/>
                  </a:cubicBezTo>
                  <a:cubicBezTo>
                    <a:pt x="1190" y="573"/>
                    <a:pt x="1190" y="573"/>
                    <a:pt x="1190" y="573"/>
                  </a:cubicBezTo>
                  <a:cubicBezTo>
                    <a:pt x="1284" y="573"/>
                    <a:pt x="1284" y="573"/>
                    <a:pt x="1284" y="573"/>
                  </a:cubicBezTo>
                  <a:cubicBezTo>
                    <a:pt x="1298" y="441"/>
                    <a:pt x="1298" y="441"/>
                    <a:pt x="1298" y="441"/>
                  </a:cubicBezTo>
                  <a:cubicBezTo>
                    <a:pt x="1312" y="441"/>
                    <a:pt x="1312" y="441"/>
                    <a:pt x="1312" y="441"/>
                  </a:cubicBezTo>
                  <a:cubicBezTo>
                    <a:pt x="1319" y="110"/>
                    <a:pt x="1319" y="110"/>
                    <a:pt x="1319" y="110"/>
                  </a:cubicBezTo>
                  <a:cubicBezTo>
                    <a:pt x="1309" y="108"/>
                    <a:pt x="1309" y="108"/>
                    <a:pt x="1309" y="108"/>
                  </a:cubicBezTo>
                  <a:cubicBezTo>
                    <a:pt x="1308" y="108"/>
                    <a:pt x="1308" y="107"/>
                    <a:pt x="1308" y="107"/>
                  </a:cubicBezTo>
                  <a:cubicBezTo>
                    <a:pt x="1308" y="106"/>
                    <a:pt x="1308" y="105"/>
                    <a:pt x="1309" y="105"/>
                  </a:cubicBezTo>
                  <a:cubicBezTo>
                    <a:pt x="1358" y="105"/>
                    <a:pt x="1358" y="105"/>
                    <a:pt x="1358" y="105"/>
                  </a:cubicBezTo>
                  <a:cubicBezTo>
                    <a:pt x="1359" y="105"/>
                    <a:pt x="1360" y="106"/>
                    <a:pt x="1360" y="107"/>
                  </a:cubicBezTo>
                  <a:cubicBezTo>
                    <a:pt x="1360" y="107"/>
                    <a:pt x="1359" y="108"/>
                    <a:pt x="1359" y="108"/>
                  </a:cubicBezTo>
                  <a:cubicBezTo>
                    <a:pt x="1353" y="112"/>
                    <a:pt x="1353" y="112"/>
                    <a:pt x="1353" y="112"/>
                  </a:cubicBezTo>
                  <a:cubicBezTo>
                    <a:pt x="1359" y="441"/>
                    <a:pt x="1359" y="441"/>
                    <a:pt x="1359" y="441"/>
                  </a:cubicBezTo>
                  <a:cubicBezTo>
                    <a:pt x="1378" y="441"/>
                    <a:pt x="1378" y="441"/>
                    <a:pt x="1378" y="441"/>
                  </a:cubicBezTo>
                  <a:cubicBezTo>
                    <a:pt x="1389" y="573"/>
                    <a:pt x="1389" y="573"/>
                    <a:pt x="1389" y="573"/>
                  </a:cubicBezTo>
                  <a:cubicBezTo>
                    <a:pt x="1491" y="573"/>
                    <a:pt x="1491" y="573"/>
                    <a:pt x="1491" y="573"/>
                  </a:cubicBezTo>
                  <a:cubicBezTo>
                    <a:pt x="1504" y="441"/>
                    <a:pt x="1504" y="441"/>
                    <a:pt x="1504" y="441"/>
                  </a:cubicBezTo>
                  <a:cubicBezTo>
                    <a:pt x="1518" y="441"/>
                    <a:pt x="1518" y="441"/>
                    <a:pt x="1518" y="441"/>
                  </a:cubicBezTo>
                  <a:cubicBezTo>
                    <a:pt x="1526" y="14"/>
                    <a:pt x="1526" y="14"/>
                    <a:pt x="1526" y="14"/>
                  </a:cubicBezTo>
                  <a:cubicBezTo>
                    <a:pt x="1517" y="11"/>
                    <a:pt x="1517" y="11"/>
                    <a:pt x="1517" y="11"/>
                  </a:cubicBezTo>
                  <a:cubicBezTo>
                    <a:pt x="1517" y="11"/>
                    <a:pt x="1516" y="10"/>
                    <a:pt x="1516" y="10"/>
                  </a:cubicBezTo>
                  <a:cubicBezTo>
                    <a:pt x="1516" y="9"/>
                    <a:pt x="1517" y="8"/>
                    <a:pt x="1518" y="8"/>
                  </a:cubicBezTo>
                  <a:cubicBezTo>
                    <a:pt x="1566" y="8"/>
                    <a:pt x="1566" y="8"/>
                    <a:pt x="1566" y="8"/>
                  </a:cubicBezTo>
                  <a:cubicBezTo>
                    <a:pt x="1567" y="8"/>
                    <a:pt x="1568" y="9"/>
                    <a:pt x="1568" y="10"/>
                  </a:cubicBezTo>
                  <a:cubicBezTo>
                    <a:pt x="1568" y="10"/>
                    <a:pt x="1568" y="11"/>
                    <a:pt x="1567" y="11"/>
                  </a:cubicBezTo>
                  <a:cubicBezTo>
                    <a:pt x="1560" y="14"/>
                    <a:pt x="1560" y="14"/>
                    <a:pt x="1560" y="14"/>
                  </a:cubicBezTo>
                  <a:cubicBezTo>
                    <a:pt x="1566" y="441"/>
                    <a:pt x="1566" y="441"/>
                    <a:pt x="1566" y="441"/>
                  </a:cubicBezTo>
                  <a:cubicBezTo>
                    <a:pt x="1585" y="441"/>
                    <a:pt x="1585" y="441"/>
                    <a:pt x="1585" y="441"/>
                  </a:cubicBezTo>
                  <a:cubicBezTo>
                    <a:pt x="1596" y="573"/>
                    <a:pt x="1596" y="573"/>
                    <a:pt x="1596" y="573"/>
                  </a:cubicBezTo>
                  <a:cubicBezTo>
                    <a:pt x="1686" y="573"/>
                    <a:pt x="1686" y="573"/>
                    <a:pt x="1686" y="573"/>
                  </a:cubicBezTo>
                  <a:cubicBezTo>
                    <a:pt x="1686" y="697"/>
                    <a:pt x="1686" y="697"/>
                    <a:pt x="1686" y="697"/>
                  </a:cubicBezTo>
                  <a:cubicBezTo>
                    <a:pt x="1791" y="697"/>
                    <a:pt x="1791" y="697"/>
                    <a:pt x="1791" y="697"/>
                  </a:cubicBezTo>
                  <a:cubicBezTo>
                    <a:pt x="1791" y="684"/>
                    <a:pt x="1791" y="684"/>
                    <a:pt x="1791" y="684"/>
                  </a:cubicBezTo>
                  <a:cubicBezTo>
                    <a:pt x="1828" y="684"/>
                    <a:pt x="1828" y="684"/>
                    <a:pt x="1828" y="684"/>
                  </a:cubicBezTo>
                  <a:cubicBezTo>
                    <a:pt x="1831" y="682"/>
                    <a:pt x="1831" y="682"/>
                    <a:pt x="1831" y="682"/>
                  </a:cubicBezTo>
                  <a:cubicBezTo>
                    <a:pt x="1867" y="663"/>
                    <a:pt x="1894" y="621"/>
                    <a:pt x="1906" y="559"/>
                  </a:cubicBezTo>
                  <a:cubicBezTo>
                    <a:pt x="1907" y="553"/>
                    <a:pt x="1907" y="553"/>
                    <a:pt x="1907" y="553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888" y="534"/>
                    <a:pt x="1879" y="515"/>
                    <a:pt x="1877" y="495"/>
                  </a:cubicBezTo>
                  <a:cubicBezTo>
                    <a:pt x="1875" y="484"/>
                    <a:pt x="1875" y="484"/>
                    <a:pt x="1875" y="484"/>
                  </a:cubicBezTo>
                  <a:cubicBezTo>
                    <a:pt x="1868" y="484"/>
                    <a:pt x="1868" y="484"/>
                    <a:pt x="1868" y="484"/>
                  </a:cubicBezTo>
                  <a:cubicBezTo>
                    <a:pt x="1868" y="466"/>
                    <a:pt x="1868" y="466"/>
                    <a:pt x="1868" y="466"/>
                  </a:cubicBezTo>
                  <a:cubicBezTo>
                    <a:pt x="1876" y="466"/>
                    <a:pt x="1876" y="466"/>
                    <a:pt x="1876" y="466"/>
                  </a:cubicBezTo>
                  <a:cubicBezTo>
                    <a:pt x="1876" y="300"/>
                    <a:pt x="1876" y="300"/>
                    <a:pt x="1876" y="300"/>
                  </a:cubicBezTo>
                  <a:cubicBezTo>
                    <a:pt x="1876" y="255"/>
                    <a:pt x="1910" y="215"/>
                    <a:pt x="1955" y="209"/>
                  </a:cubicBezTo>
                  <a:cubicBezTo>
                    <a:pt x="1965" y="207"/>
                    <a:pt x="1965" y="207"/>
                    <a:pt x="1965" y="207"/>
                  </a:cubicBezTo>
                  <a:cubicBezTo>
                    <a:pt x="1965" y="191"/>
                    <a:pt x="1965" y="191"/>
                    <a:pt x="1965" y="191"/>
                  </a:cubicBezTo>
                  <a:cubicBezTo>
                    <a:pt x="1974" y="191"/>
                    <a:pt x="1974" y="191"/>
                    <a:pt x="1974" y="191"/>
                  </a:cubicBezTo>
                  <a:cubicBezTo>
                    <a:pt x="1974" y="207"/>
                    <a:pt x="1974" y="207"/>
                    <a:pt x="1974" y="207"/>
                  </a:cubicBezTo>
                  <a:cubicBezTo>
                    <a:pt x="1984" y="209"/>
                    <a:pt x="1984" y="209"/>
                    <a:pt x="1984" y="209"/>
                  </a:cubicBezTo>
                  <a:cubicBezTo>
                    <a:pt x="2029" y="217"/>
                    <a:pt x="2061" y="255"/>
                    <a:pt x="2061" y="300"/>
                  </a:cubicBezTo>
                  <a:cubicBezTo>
                    <a:pt x="2061" y="466"/>
                    <a:pt x="2061" y="466"/>
                    <a:pt x="2061" y="466"/>
                  </a:cubicBezTo>
                  <a:cubicBezTo>
                    <a:pt x="2071" y="466"/>
                    <a:pt x="2071" y="466"/>
                    <a:pt x="2071" y="466"/>
                  </a:cubicBezTo>
                  <a:cubicBezTo>
                    <a:pt x="2071" y="484"/>
                    <a:pt x="2071" y="484"/>
                    <a:pt x="2071" y="484"/>
                  </a:cubicBezTo>
                  <a:cubicBezTo>
                    <a:pt x="2061" y="484"/>
                    <a:pt x="2061" y="484"/>
                    <a:pt x="2061" y="484"/>
                  </a:cubicBezTo>
                  <a:cubicBezTo>
                    <a:pt x="2060" y="495"/>
                    <a:pt x="2060" y="495"/>
                    <a:pt x="2060" y="495"/>
                  </a:cubicBezTo>
                  <a:cubicBezTo>
                    <a:pt x="2058" y="513"/>
                    <a:pt x="2050" y="530"/>
                    <a:pt x="2038" y="544"/>
                  </a:cubicBezTo>
                  <a:cubicBezTo>
                    <a:pt x="2034" y="548"/>
                    <a:pt x="2034" y="548"/>
                    <a:pt x="2034" y="548"/>
                  </a:cubicBezTo>
                  <a:cubicBezTo>
                    <a:pt x="2035" y="554"/>
                    <a:pt x="2035" y="554"/>
                    <a:pt x="2035" y="554"/>
                  </a:cubicBezTo>
                  <a:cubicBezTo>
                    <a:pt x="2047" y="619"/>
                    <a:pt x="2074" y="663"/>
                    <a:pt x="2112" y="682"/>
                  </a:cubicBezTo>
                  <a:cubicBezTo>
                    <a:pt x="2114" y="684"/>
                    <a:pt x="2114" y="684"/>
                    <a:pt x="2114" y="684"/>
                  </a:cubicBezTo>
                  <a:cubicBezTo>
                    <a:pt x="2166" y="684"/>
                    <a:pt x="2166" y="684"/>
                    <a:pt x="2166" y="684"/>
                  </a:cubicBezTo>
                  <a:cubicBezTo>
                    <a:pt x="2166" y="624"/>
                    <a:pt x="2166" y="624"/>
                    <a:pt x="2166" y="624"/>
                  </a:cubicBezTo>
                  <a:cubicBezTo>
                    <a:pt x="2220" y="624"/>
                    <a:pt x="2220" y="624"/>
                    <a:pt x="2220" y="624"/>
                  </a:cubicBezTo>
                  <a:cubicBezTo>
                    <a:pt x="2220" y="490"/>
                    <a:pt x="2220" y="490"/>
                    <a:pt x="2220" y="490"/>
                  </a:cubicBezTo>
                  <a:cubicBezTo>
                    <a:pt x="2220" y="470"/>
                    <a:pt x="2235" y="453"/>
                    <a:pt x="2255" y="451"/>
                  </a:cubicBezTo>
                  <a:cubicBezTo>
                    <a:pt x="2259" y="451"/>
                    <a:pt x="2259" y="451"/>
                    <a:pt x="2259" y="451"/>
                  </a:cubicBezTo>
                  <a:cubicBezTo>
                    <a:pt x="2263" y="451"/>
                    <a:pt x="2263" y="451"/>
                    <a:pt x="2263" y="451"/>
                  </a:cubicBezTo>
                  <a:cubicBezTo>
                    <a:pt x="2284" y="453"/>
                    <a:pt x="2300" y="470"/>
                    <a:pt x="2300" y="490"/>
                  </a:cubicBezTo>
                  <a:cubicBezTo>
                    <a:pt x="2300" y="624"/>
                    <a:pt x="2300" y="624"/>
                    <a:pt x="2300" y="624"/>
                  </a:cubicBezTo>
                  <a:cubicBezTo>
                    <a:pt x="2393" y="624"/>
                    <a:pt x="2393" y="624"/>
                    <a:pt x="2393" y="624"/>
                  </a:cubicBezTo>
                  <a:cubicBezTo>
                    <a:pt x="2393" y="490"/>
                    <a:pt x="2393" y="490"/>
                    <a:pt x="2393" y="490"/>
                  </a:cubicBezTo>
                  <a:cubicBezTo>
                    <a:pt x="2393" y="470"/>
                    <a:pt x="2408" y="453"/>
                    <a:pt x="2428" y="451"/>
                  </a:cubicBezTo>
                  <a:cubicBezTo>
                    <a:pt x="2432" y="450"/>
                    <a:pt x="2432" y="450"/>
                    <a:pt x="2432" y="450"/>
                  </a:cubicBezTo>
                  <a:cubicBezTo>
                    <a:pt x="2436" y="451"/>
                    <a:pt x="2436" y="451"/>
                    <a:pt x="2436" y="451"/>
                  </a:cubicBezTo>
                  <a:cubicBezTo>
                    <a:pt x="2457" y="453"/>
                    <a:pt x="2472" y="470"/>
                    <a:pt x="2472" y="490"/>
                  </a:cubicBezTo>
                  <a:cubicBezTo>
                    <a:pt x="2472" y="624"/>
                    <a:pt x="2472" y="624"/>
                    <a:pt x="2472" y="624"/>
                  </a:cubicBezTo>
                  <a:cubicBezTo>
                    <a:pt x="2631" y="624"/>
                    <a:pt x="2631" y="624"/>
                    <a:pt x="2631" y="624"/>
                  </a:cubicBezTo>
                  <a:cubicBezTo>
                    <a:pt x="2631" y="729"/>
                    <a:pt x="2631" y="729"/>
                    <a:pt x="2631" y="729"/>
                  </a:cubicBezTo>
                  <a:cubicBezTo>
                    <a:pt x="2696" y="729"/>
                    <a:pt x="2696" y="729"/>
                    <a:pt x="2696" y="729"/>
                  </a:cubicBezTo>
                  <a:cubicBezTo>
                    <a:pt x="2696" y="837"/>
                    <a:pt x="2696" y="837"/>
                    <a:pt x="2696" y="837"/>
                  </a:cubicBezTo>
                  <a:cubicBezTo>
                    <a:pt x="2745" y="837"/>
                    <a:pt x="2745" y="837"/>
                    <a:pt x="2745" y="837"/>
                  </a:cubicBezTo>
                  <a:cubicBezTo>
                    <a:pt x="2749" y="832"/>
                    <a:pt x="2749" y="832"/>
                    <a:pt x="2749" y="832"/>
                  </a:cubicBezTo>
                  <a:cubicBezTo>
                    <a:pt x="2779" y="793"/>
                    <a:pt x="2852" y="678"/>
                    <a:pt x="2872" y="443"/>
                  </a:cubicBezTo>
                  <a:cubicBezTo>
                    <a:pt x="2872" y="440"/>
                    <a:pt x="2872" y="436"/>
                    <a:pt x="2873" y="432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0"/>
                    <a:pt x="2874" y="410"/>
                    <a:pt x="2874" y="410"/>
                  </a:cubicBezTo>
                  <a:cubicBezTo>
                    <a:pt x="2874" y="405"/>
                    <a:pt x="2875" y="400"/>
                    <a:pt x="2875" y="395"/>
                  </a:cubicBezTo>
                  <a:cubicBezTo>
                    <a:pt x="2877" y="350"/>
                    <a:pt x="2877" y="350"/>
                    <a:pt x="2877" y="350"/>
                  </a:cubicBezTo>
                  <a:cubicBezTo>
                    <a:pt x="2865" y="350"/>
                    <a:pt x="2865" y="350"/>
                    <a:pt x="2865" y="350"/>
                  </a:cubicBezTo>
                  <a:cubicBezTo>
                    <a:pt x="2865" y="338"/>
                    <a:pt x="2865" y="338"/>
                    <a:pt x="2865" y="338"/>
                  </a:cubicBezTo>
                  <a:cubicBezTo>
                    <a:pt x="3036" y="338"/>
                    <a:pt x="3036" y="338"/>
                    <a:pt x="3036" y="338"/>
                  </a:cubicBezTo>
                  <a:cubicBezTo>
                    <a:pt x="3036" y="350"/>
                    <a:pt x="3036" y="350"/>
                    <a:pt x="3036" y="350"/>
                  </a:cubicBezTo>
                  <a:cubicBezTo>
                    <a:pt x="3026" y="350"/>
                    <a:pt x="3026" y="350"/>
                    <a:pt x="3026" y="350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94"/>
                    <a:pt x="3027" y="394"/>
                    <a:pt x="3027" y="394"/>
                  </a:cubicBezTo>
                  <a:cubicBezTo>
                    <a:pt x="3027" y="400"/>
                    <a:pt x="3027" y="405"/>
                    <a:pt x="3027" y="410"/>
                  </a:cubicBezTo>
                  <a:cubicBezTo>
                    <a:pt x="3028" y="432"/>
                    <a:pt x="3028" y="432"/>
                    <a:pt x="3028" y="432"/>
                  </a:cubicBezTo>
                  <a:cubicBezTo>
                    <a:pt x="3034" y="543"/>
                    <a:pt x="3053" y="637"/>
                    <a:pt x="3086" y="713"/>
                  </a:cubicBezTo>
                  <a:cubicBezTo>
                    <a:pt x="3113" y="777"/>
                    <a:pt x="3143" y="814"/>
                    <a:pt x="3164" y="834"/>
                  </a:cubicBezTo>
                  <a:cubicBezTo>
                    <a:pt x="3168" y="837"/>
                    <a:pt x="3168" y="837"/>
                    <a:pt x="3168" y="837"/>
                  </a:cubicBezTo>
                  <a:cubicBezTo>
                    <a:pt x="3236" y="837"/>
                    <a:pt x="3236" y="837"/>
                    <a:pt x="3236" y="837"/>
                  </a:cubicBezTo>
                  <a:cubicBezTo>
                    <a:pt x="3237" y="841"/>
                    <a:pt x="3238" y="847"/>
                    <a:pt x="3239" y="856"/>
                  </a:cubicBezTo>
                  <a:cubicBezTo>
                    <a:pt x="3241" y="854"/>
                    <a:pt x="3244" y="851"/>
                    <a:pt x="3246" y="849"/>
                  </a:cubicBezTo>
                  <a:cubicBezTo>
                    <a:pt x="3246" y="849"/>
                    <a:pt x="3246" y="848"/>
                    <a:pt x="3246" y="847"/>
                  </a:cubicBezTo>
                  <a:cubicBezTo>
                    <a:pt x="3243" y="829"/>
                    <a:pt x="3243" y="829"/>
                    <a:pt x="3239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171" y="829"/>
                    <a:pt x="3171" y="829"/>
                    <a:pt x="3171" y="829"/>
                  </a:cubicBezTo>
                  <a:cubicBezTo>
                    <a:pt x="3170" y="828"/>
                    <a:pt x="3170" y="828"/>
                    <a:pt x="3170" y="828"/>
                  </a:cubicBezTo>
                  <a:cubicBezTo>
                    <a:pt x="3149" y="808"/>
                    <a:pt x="3120" y="772"/>
                    <a:pt x="3093" y="710"/>
                  </a:cubicBezTo>
                  <a:cubicBezTo>
                    <a:pt x="3061" y="635"/>
                    <a:pt x="3042" y="541"/>
                    <a:pt x="3036" y="432"/>
                  </a:cubicBezTo>
                  <a:cubicBezTo>
                    <a:pt x="3036" y="425"/>
                    <a:pt x="3036" y="425"/>
                    <a:pt x="3036" y="425"/>
                  </a:cubicBezTo>
                  <a:cubicBezTo>
                    <a:pt x="3040" y="425"/>
                    <a:pt x="3040" y="425"/>
                    <a:pt x="3040" y="425"/>
                  </a:cubicBezTo>
                  <a:cubicBezTo>
                    <a:pt x="3040" y="413"/>
                    <a:pt x="3040" y="413"/>
                    <a:pt x="3040" y="413"/>
                  </a:cubicBezTo>
                  <a:cubicBezTo>
                    <a:pt x="3035" y="413"/>
                    <a:pt x="3035" y="413"/>
                    <a:pt x="3035" y="413"/>
                  </a:cubicBezTo>
                  <a:cubicBezTo>
                    <a:pt x="3035" y="410"/>
                    <a:pt x="3035" y="410"/>
                    <a:pt x="3035" y="410"/>
                  </a:cubicBezTo>
                  <a:cubicBezTo>
                    <a:pt x="3035" y="405"/>
                    <a:pt x="3035" y="400"/>
                    <a:pt x="3035" y="394"/>
                  </a:cubicBezTo>
                  <a:cubicBezTo>
                    <a:pt x="3035" y="390"/>
                    <a:pt x="3035" y="390"/>
                    <a:pt x="3035" y="390"/>
                  </a:cubicBezTo>
                  <a:cubicBezTo>
                    <a:pt x="3040" y="390"/>
                    <a:pt x="3040" y="390"/>
                    <a:pt x="3040" y="390"/>
                  </a:cubicBezTo>
                  <a:cubicBezTo>
                    <a:pt x="3040" y="378"/>
                    <a:pt x="3040" y="378"/>
                    <a:pt x="3040" y="378"/>
                  </a:cubicBezTo>
                  <a:cubicBezTo>
                    <a:pt x="3035" y="378"/>
                    <a:pt x="3035" y="378"/>
                    <a:pt x="3035" y="378"/>
                  </a:cubicBezTo>
                  <a:cubicBezTo>
                    <a:pt x="3034" y="358"/>
                    <a:pt x="3034" y="358"/>
                    <a:pt x="3034" y="358"/>
                  </a:cubicBezTo>
                  <a:cubicBezTo>
                    <a:pt x="3044" y="358"/>
                    <a:pt x="3044" y="358"/>
                    <a:pt x="3044" y="358"/>
                  </a:cubicBezTo>
                  <a:cubicBezTo>
                    <a:pt x="3044" y="330"/>
                    <a:pt x="3044" y="330"/>
                    <a:pt x="3044" y="330"/>
                  </a:cubicBezTo>
                  <a:cubicBezTo>
                    <a:pt x="2857" y="330"/>
                    <a:pt x="2857" y="330"/>
                    <a:pt x="2857" y="330"/>
                  </a:cubicBezTo>
                  <a:cubicBezTo>
                    <a:pt x="2857" y="358"/>
                    <a:pt x="2857" y="358"/>
                    <a:pt x="2857" y="358"/>
                  </a:cubicBezTo>
                  <a:cubicBezTo>
                    <a:pt x="2868" y="358"/>
                    <a:pt x="2868" y="358"/>
                    <a:pt x="2868" y="358"/>
                  </a:cubicBezTo>
                  <a:cubicBezTo>
                    <a:pt x="2868" y="378"/>
                    <a:pt x="2868" y="378"/>
                    <a:pt x="2868" y="378"/>
                  </a:cubicBezTo>
                  <a:cubicBezTo>
                    <a:pt x="2862" y="378"/>
                    <a:pt x="2862" y="378"/>
                    <a:pt x="2862" y="378"/>
                  </a:cubicBezTo>
                  <a:cubicBezTo>
                    <a:pt x="2862" y="390"/>
                    <a:pt x="2862" y="390"/>
                    <a:pt x="2862" y="390"/>
                  </a:cubicBezTo>
                  <a:cubicBezTo>
                    <a:pt x="2867" y="390"/>
                    <a:pt x="2867" y="390"/>
                    <a:pt x="2867" y="390"/>
                  </a:cubicBezTo>
                  <a:cubicBezTo>
                    <a:pt x="2867" y="394"/>
                    <a:pt x="2867" y="394"/>
                    <a:pt x="2867" y="394"/>
                  </a:cubicBezTo>
                  <a:cubicBezTo>
                    <a:pt x="2867" y="400"/>
                    <a:pt x="2866" y="405"/>
                    <a:pt x="2866" y="410"/>
                  </a:cubicBezTo>
                  <a:cubicBezTo>
                    <a:pt x="2866" y="413"/>
                    <a:pt x="2866" y="413"/>
                    <a:pt x="2866" y="413"/>
                  </a:cubicBezTo>
                  <a:cubicBezTo>
                    <a:pt x="2862" y="413"/>
                    <a:pt x="2862" y="413"/>
                    <a:pt x="2862" y="413"/>
                  </a:cubicBezTo>
                  <a:cubicBezTo>
                    <a:pt x="2862" y="425"/>
                    <a:pt x="2862" y="425"/>
                    <a:pt x="2862" y="425"/>
                  </a:cubicBezTo>
                  <a:cubicBezTo>
                    <a:pt x="2865" y="425"/>
                    <a:pt x="2865" y="425"/>
                    <a:pt x="2865" y="425"/>
                  </a:cubicBezTo>
                  <a:cubicBezTo>
                    <a:pt x="2865" y="432"/>
                    <a:pt x="2865" y="432"/>
                    <a:pt x="2865" y="432"/>
                  </a:cubicBezTo>
                  <a:cubicBezTo>
                    <a:pt x="2864" y="435"/>
                    <a:pt x="2864" y="439"/>
                    <a:pt x="2864" y="442"/>
                  </a:cubicBezTo>
                  <a:cubicBezTo>
                    <a:pt x="2844" y="675"/>
                    <a:pt x="2772" y="789"/>
                    <a:pt x="2743" y="827"/>
                  </a:cubicBezTo>
                  <a:cubicBezTo>
                    <a:pt x="2741" y="829"/>
                    <a:pt x="2741" y="829"/>
                    <a:pt x="2741" y="829"/>
                  </a:cubicBezTo>
                  <a:cubicBezTo>
                    <a:pt x="2704" y="829"/>
                    <a:pt x="2704" y="829"/>
                    <a:pt x="2704" y="829"/>
                  </a:cubicBezTo>
                  <a:cubicBezTo>
                    <a:pt x="2704" y="721"/>
                    <a:pt x="2704" y="721"/>
                    <a:pt x="2704" y="721"/>
                  </a:cubicBezTo>
                  <a:cubicBezTo>
                    <a:pt x="2639" y="721"/>
                    <a:pt x="2639" y="721"/>
                    <a:pt x="2639" y="721"/>
                  </a:cubicBezTo>
                  <a:cubicBezTo>
                    <a:pt x="2639" y="616"/>
                    <a:pt x="2639" y="616"/>
                    <a:pt x="2639" y="616"/>
                  </a:cubicBezTo>
                  <a:cubicBezTo>
                    <a:pt x="2480" y="616"/>
                    <a:pt x="2480" y="616"/>
                    <a:pt x="2480" y="616"/>
                  </a:cubicBezTo>
                  <a:cubicBezTo>
                    <a:pt x="2480" y="490"/>
                    <a:pt x="2480" y="490"/>
                    <a:pt x="2480" y="490"/>
                  </a:cubicBezTo>
                  <a:cubicBezTo>
                    <a:pt x="2480" y="466"/>
                    <a:pt x="2461" y="445"/>
                    <a:pt x="2437" y="443"/>
                  </a:cubicBezTo>
                  <a:cubicBezTo>
                    <a:pt x="2432" y="442"/>
                    <a:pt x="2432" y="442"/>
                    <a:pt x="2432" y="442"/>
                  </a:cubicBezTo>
                  <a:cubicBezTo>
                    <a:pt x="2427" y="443"/>
                    <a:pt x="2427" y="443"/>
                    <a:pt x="2427" y="443"/>
                  </a:cubicBezTo>
                  <a:cubicBezTo>
                    <a:pt x="2403" y="446"/>
                    <a:pt x="2385" y="466"/>
                    <a:pt x="2385" y="490"/>
                  </a:cubicBezTo>
                  <a:cubicBezTo>
                    <a:pt x="2385" y="616"/>
                    <a:pt x="2385" y="616"/>
                    <a:pt x="2385" y="616"/>
                  </a:cubicBezTo>
                  <a:cubicBezTo>
                    <a:pt x="2308" y="616"/>
                    <a:pt x="2308" y="616"/>
                    <a:pt x="2308" y="616"/>
                  </a:cubicBezTo>
                  <a:cubicBezTo>
                    <a:pt x="2308" y="490"/>
                    <a:pt x="2308" y="490"/>
                    <a:pt x="2308" y="490"/>
                  </a:cubicBezTo>
                  <a:cubicBezTo>
                    <a:pt x="2308" y="466"/>
                    <a:pt x="2289" y="445"/>
                    <a:pt x="2264" y="443"/>
                  </a:cubicBezTo>
                  <a:cubicBezTo>
                    <a:pt x="2259" y="442"/>
                    <a:pt x="2259" y="442"/>
                    <a:pt x="2259" y="442"/>
                  </a:cubicBezTo>
                  <a:cubicBezTo>
                    <a:pt x="2254" y="443"/>
                    <a:pt x="2254" y="443"/>
                    <a:pt x="2254" y="443"/>
                  </a:cubicBezTo>
                  <a:cubicBezTo>
                    <a:pt x="2230" y="446"/>
                    <a:pt x="2212" y="466"/>
                    <a:pt x="2212" y="490"/>
                  </a:cubicBezTo>
                  <a:cubicBezTo>
                    <a:pt x="2212" y="616"/>
                    <a:pt x="2212" y="616"/>
                    <a:pt x="2212" y="616"/>
                  </a:cubicBezTo>
                  <a:cubicBezTo>
                    <a:pt x="2158" y="616"/>
                    <a:pt x="2158" y="616"/>
                    <a:pt x="2158" y="616"/>
                  </a:cubicBezTo>
                  <a:cubicBezTo>
                    <a:pt x="2158" y="676"/>
                    <a:pt x="2158" y="676"/>
                    <a:pt x="2158" y="676"/>
                  </a:cubicBezTo>
                  <a:cubicBezTo>
                    <a:pt x="2116" y="676"/>
                    <a:pt x="2116" y="676"/>
                    <a:pt x="2116" y="676"/>
                  </a:cubicBezTo>
                  <a:cubicBezTo>
                    <a:pt x="2115" y="675"/>
                    <a:pt x="2115" y="675"/>
                    <a:pt x="2115" y="675"/>
                  </a:cubicBezTo>
                  <a:cubicBezTo>
                    <a:pt x="2080" y="657"/>
                    <a:pt x="2055" y="615"/>
                    <a:pt x="2043" y="552"/>
                  </a:cubicBezTo>
                  <a:cubicBezTo>
                    <a:pt x="2043" y="551"/>
                    <a:pt x="2043" y="551"/>
                    <a:pt x="2043" y="551"/>
                  </a:cubicBezTo>
                  <a:cubicBezTo>
                    <a:pt x="2044" y="549"/>
                    <a:pt x="2044" y="549"/>
                    <a:pt x="2044" y="549"/>
                  </a:cubicBezTo>
                  <a:cubicBezTo>
                    <a:pt x="2057" y="534"/>
                    <a:pt x="2065" y="515"/>
                    <a:pt x="2068" y="496"/>
                  </a:cubicBezTo>
                  <a:cubicBezTo>
                    <a:pt x="2068" y="492"/>
                    <a:pt x="2068" y="492"/>
                    <a:pt x="2068" y="492"/>
                  </a:cubicBezTo>
                  <a:cubicBezTo>
                    <a:pt x="2079" y="492"/>
                    <a:pt x="2079" y="492"/>
                    <a:pt x="2079" y="492"/>
                  </a:cubicBezTo>
                  <a:cubicBezTo>
                    <a:pt x="2079" y="458"/>
                    <a:pt x="2079" y="458"/>
                    <a:pt x="2079" y="458"/>
                  </a:cubicBezTo>
                  <a:cubicBezTo>
                    <a:pt x="2069" y="458"/>
                    <a:pt x="2069" y="458"/>
                    <a:pt x="2069" y="458"/>
                  </a:cubicBezTo>
                  <a:cubicBezTo>
                    <a:pt x="2069" y="372"/>
                    <a:pt x="2069" y="372"/>
                    <a:pt x="2069" y="372"/>
                  </a:cubicBezTo>
                  <a:cubicBezTo>
                    <a:pt x="2072" y="372"/>
                    <a:pt x="2072" y="372"/>
                    <a:pt x="2072" y="372"/>
                  </a:cubicBezTo>
                  <a:cubicBezTo>
                    <a:pt x="2072" y="361"/>
                    <a:pt x="2072" y="361"/>
                    <a:pt x="2072" y="361"/>
                  </a:cubicBezTo>
                  <a:cubicBezTo>
                    <a:pt x="2069" y="361"/>
                    <a:pt x="2069" y="361"/>
                    <a:pt x="2069" y="361"/>
                  </a:cubicBezTo>
                  <a:cubicBezTo>
                    <a:pt x="2069" y="300"/>
                    <a:pt x="2069" y="300"/>
                    <a:pt x="2069" y="300"/>
                  </a:cubicBezTo>
                  <a:cubicBezTo>
                    <a:pt x="2069" y="251"/>
                    <a:pt x="2034" y="210"/>
                    <a:pt x="1986" y="201"/>
                  </a:cubicBezTo>
                  <a:cubicBezTo>
                    <a:pt x="1982" y="201"/>
                    <a:pt x="1982" y="201"/>
                    <a:pt x="1982" y="201"/>
                  </a:cubicBezTo>
                  <a:cubicBezTo>
                    <a:pt x="1982" y="183"/>
                    <a:pt x="1982" y="183"/>
                    <a:pt x="1982" y="183"/>
                  </a:cubicBezTo>
                  <a:cubicBezTo>
                    <a:pt x="1957" y="183"/>
                    <a:pt x="1957" y="183"/>
                    <a:pt x="1957" y="183"/>
                  </a:cubicBezTo>
                  <a:cubicBezTo>
                    <a:pt x="1957" y="200"/>
                    <a:pt x="1957" y="200"/>
                    <a:pt x="1957" y="200"/>
                  </a:cubicBezTo>
                  <a:cubicBezTo>
                    <a:pt x="1954" y="201"/>
                    <a:pt x="1954" y="201"/>
                    <a:pt x="1954" y="201"/>
                  </a:cubicBezTo>
                  <a:cubicBezTo>
                    <a:pt x="1905" y="208"/>
                    <a:pt x="1868" y="251"/>
                    <a:pt x="1868" y="300"/>
                  </a:cubicBezTo>
                  <a:cubicBezTo>
                    <a:pt x="1868" y="361"/>
                    <a:pt x="1868" y="361"/>
                    <a:pt x="1868" y="361"/>
                  </a:cubicBezTo>
                  <a:cubicBezTo>
                    <a:pt x="1866" y="361"/>
                    <a:pt x="1866" y="361"/>
                    <a:pt x="1866" y="361"/>
                  </a:cubicBezTo>
                  <a:cubicBezTo>
                    <a:pt x="1866" y="372"/>
                    <a:pt x="1866" y="372"/>
                    <a:pt x="1866" y="372"/>
                  </a:cubicBezTo>
                  <a:cubicBezTo>
                    <a:pt x="1868" y="372"/>
                    <a:pt x="1868" y="372"/>
                    <a:pt x="1868" y="372"/>
                  </a:cubicBezTo>
                  <a:cubicBezTo>
                    <a:pt x="1868" y="458"/>
                    <a:pt x="1868" y="458"/>
                    <a:pt x="1868" y="458"/>
                  </a:cubicBezTo>
                  <a:cubicBezTo>
                    <a:pt x="1860" y="458"/>
                    <a:pt x="1860" y="458"/>
                    <a:pt x="1860" y="458"/>
                  </a:cubicBezTo>
                  <a:cubicBezTo>
                    <a:pt x="1860" y="492"/>
                    <a:pt x="1860" y="492"/>
                    <a:pt x="1860" y="492"/>
                  </a:cubicBezTo>
                  <a:cubicBezTo>
                    <a:pt x="1868" y="492"/>
                    <a:pt x="1868" y="492"/>
                    <a:pt x="1868" y="492"/>
                  </a:cubicBezTo>
                  <a:cubicBezTo>
                    <a:pt x="1869" y="496"/>
                    <a:pt x="1869" y="496"/>
                    <a:pt x="1869" y="496"/>
                  </a:cubicBezTo>
                  <a:cubicBezTo>
                    <a:pt x="1871" y="518"/>
                    <a:pt x="1881" y="538"/>
                    <a:pt x="1897" y="554"/>
                  </a:cubicBezTo>
                  <a:cubicBezTo>
                    <a:pt x="1898" y="556"/>
                    <a:pt x="1898" y="556"/>
                    <a:pt x="1898" y="556"/>
                  </a:cubicBezTo>
                  <a:cubicBezTo>
                    <a:pt x="1898" y="558"/>
                    <a:pt x="1898" y="558"/>
                    <a:pt x="1898" y="558"/>
                  </a:cubicBezTo>
                  <a:cubicBezTo>
                    <a:pt x="1886" y="617"/>
                    <a:pt x="1862" y="657"/>
                    <a:pt x="1827" y="675"/>
                  </a:cubicBezTo>
                  <a:cubicBezTo>
                    <a:pt x="1826" y="676"/>
                    <a:pt x="1826" y="676"/>
                    <a:pt x="1826" y="676"/>
                  </a:cubicBezTo>
                  <a:cubicBezTo>
                    <a:pt x="1783" y="676"/>
                    <a:pt x="1783" y="676"/>
                    <a:pt x="1783" y="676"/>
                  </a:cubicBezTo>
                  <a:cubicBezTo>
                    <a:pt x="1783" y="689"/>
                    <a:pt x="1783" y="689"/>
                    <a:pt x="1783" y="689"/>
                  </a:cubicBezTo>
                  <a:cubicBezTo>
                    <a:pt x="1694" y="689"/>
                    <a:pt x="1694" y="689"/>
                    <a:pt x="1694" y="689"/>
                  </a:cubicBezTo>
                  <a:cubicBezTo>
                    <a:pt x="1694" y="565"/>
                    <a:pt x="1694" y="565"/>
                    <a:pt x="1694" y="565"/>
                  </a:cubicBezTo>
                  <a:cubicBezTo>
                    <a:pt x="1603" y="565"/>
                    <a:pt x="1603" y="565"/>
                    <a:pt x="1603" y="565"/>
                  </a:cubicBezTo>
                  <a:cubicBezTo>
                    <a:pt x="1592" y="433"/>
                    <a:pt x="1592" y="433"/>
                    <a:pt x="1592" y="433"/>
                  </a:cubicBezTo>
                  <a:cubicBezTo>
                    <a:pt x="1574" y="433"/>
                    <a:pt x="1574" y="433"/>
                    <a:pt x="1574" y="433"/>
                  </a:cubicBezTo>
                  <a:cubicBezTo>
                    <a:pt x="1568" y="19"/>
                    <a:pt x="1568" y="19"/>
                    <a:pt x="1568" y="19"/>
                  </a:cubicBezTo>
                  <a:cubicBezTo>
                    <a:pt x="1570" y="18"/>
                    <a:pt x="1570" y="18"/>
                    <a:pt x="1570" y="18"/>
                  </a:cubicBezTo>
                  <a:cubicBezTo>
                    <a:pt x="1574" y="17"/>
                    <a:pt x="1576" y="13"/>
                    <a:pt x="1576" y="10"/>
                  </a:cubicBezTo>
                  <a:cubicBezTo>
                    <a:pt x="1576" y="4"/>
                    <a:pt x="1572" y="0"/>
                    <a:pt x="1566" y="0"/>
                  </a:cubicBezTo>
                  <a:cubicBezTo>
                    <a:pt x="1518" y="0"/>
                    <a:pt x="1518" y="0"/>
                    <a:pt x="1518" y="0"/>
                  </a:cubicBezTo>
                  <a:cubicBezTo>
                    <a:pt x="1512" y="0"/>
                    <a:pt x="1508" y="4"/>
                    <a:pt x="1508" y="10"/>
                  </a:cubicBezTo>
                  <a:cubicBezTo>
                    <a:pt x="1508" y="14"/>
                    <a:pt x="1511" y="17"/>
                    <a:pt x="1515" y="19"/>
                  </a:cubicBezTo>
                  <a:cubicBezTo>
                    <a:pt x="1518" y="20"/>
                    <a:pt x="1518" y="20"/>
                    <a:pt x="1518" y="20"/>
                  </a:cubicBezTo>
                  <a:cubicBezTo>
                    <a:pt x="1510" y="433"/>
                    <a:pt x="1510" y="433"/>
                    <a:pt x="1510" y="433"/>
                  </a:cubicBezTo>
                  <a:cubicBezTo>
                    <a:pt x="1497" y="433"/>
                    <a:pt x="1497" y="433"/>
                    <a:pt x="1497" y="433"/>
                  </a:cubicBezTo>
                  <a:cubicBezTo>
                    <a:pt x="1484" y="565"/>
                    <a:pt x="1484" y="565"/>
                    <a:pt x="1484" y="565"/>
                  </a:cubicBezTo>
                  <a:cubicBezTo>
                    <a:pt x="1396" y="565"/>
                    <a:pt x="1396" y="565"/>
                    <a:pt x="1396" y="565"/>
                  </a:cubicBezTo>
                  <a:cubicBezTo>
                    <a:pt x="1386" y="433"/>
                    <a:pt x="1386" y="433"/>
                    <a:pt x="1386" y="433"/>
                  </a:cubicBezTo>
                  <a:cubicBezTo>
                    <a:pt x="1367" y="433"/>
                    <a:pt x="1367" y="433"/>
                    <a:pt x="1367" y="433"/>
                  </a:cubicBezTo>
                  <a:cubicBezTo>
                    <a:pt x="1362" y="116"/>
                    <a:pt x="1362" y="116"/>
                    <a:pt x="1362" y="116"/>
                  </a:cubicBezTo>
                  <a:cubicBezTo>
                    <a:pt x="1363" y="115"/>
                    <a:pt x="1363" y="115"/>
                    <a:pt x="1363" y="115"/>
                  </a:cubicBezTo>
                  <a:cubicBezTo>
                    <a:pt x="1366" y="113"/>
                    <a:pt x="1368" y="110"/>
                    <a:pt x="1368" y="107"/>
                  </a:cubicBezTo>
                  <a:cubicBezTo>
                    <a:pt x="1368" y="101"/>
                    <a:pt x="1363" y="97"/>
                    <a:pt x="1358" y="97"/>
                  </a:cubicBezTo>
                  <a:cubicBezTo>
                    <a:pt x="1309" y="97"/>
                    <a:pt x="1309" y="97"/>
                    <a:pt x="1309" y="97"/>
                  </a:cubicBezTo>
                  <a:cubicBezTo>
                    <a:pt x="1304" y="97"/>
                    <a:pt x="1300" y="101"/>
                    <a:pt x="1300" y="107"/>
                  </a:cubicBezTo>
                  <a:cubicBezTo>
                    <a:pt x="1300" y="111"/>
                    <a:pt x="1303" y="115"/>
                    <a:pt x="1308" y="116"/>
                  </a:cubicBezTo>
                  <a:cubicBezTo>
                    <a:pt x="1311" y="117"/>
                    <a:pt x="1311" y="117"/>
                    <a:pt x="1311" y="117"/>
                  </a:cubicBezTo>
                  <a:cubicBezTo>
                    <a:pt x="1304" y="433"/>
                    <a:pt x="1304" y="433"/>
                    <a:pt x="1304" y="433"/>
                  </a:cubicBezTo>
                  <a:cubicBezTo>
                    <a:pt x="1291" y="433"/>
                    <a:pt x="1291" y="433"/>
                    <a:pt x="1291" y="433"/>
                  </a:cubicBezTo>
                  <a:cubicBezTo>
                    <a:pt x="1277" y="565"/>
                    <a:pt x="1277" y="565"/>
                    <a:pt x="1277" y="565"/>
                  </a:cubicBezTo>
                  <a:cubicBezTo>
                    <a:pt x="1197" y="565"/>
                    <a:pt x="1197" y="565"/>
                    <a:pt x="1197" y="565"/>
                  </a:cubicBezTo>
                  <a:cubicBezTo>
                    <a:pt x="1187" y="433"/>
                    <a:pt x="1187" y="433"/>
                    <a:pt x="1187" y="433"/>
                  </a:cubicBezTo>
                  <a:cubicBezTo>
                    <a:pt x="1171" y="433"/>
                    <a:pt x="1171" y="433"/>
                    <a:pt x="1171" y="433"/>
                  </a:cubicBezTo>
                  <a:cubicBezTo>
                    <a:pt x="1167" y="228"/>
                    <a:pt x="1167" y="228"/>
                    <a:pt x="1167" y="228"/>
                  </a:cubicBezTo>
                  <a:cubicBezTo>
                    <a:pt x="1169" y="227"/>
                    <a:pt x="1169" y="227"/>
                    <a:pt x="1169" y="227"/>
                  </a:cubicBezTo>
                  <a:cubicBezTo>
                    <a:pt x="1173" y="225"/>
                    <a:pt x="1175" y="222"/>
                    <a:pt x="1175" y="218"/>
                  </a:cubicBezTo>
                  <a:cubicBezTo>
                    <a:pt x="1175" y="213"/>
                    <a:pt x="1170" y="208"/>
                    <a:pt x="1165" y="208"/>
                  </a:cubicBezTo>
                  <a:cubicBezTo>
                    <a:pt x="1116" y="208"/>
                    <a:pt x="1116" y="208"/>
                    <a:pt x="1116" y="208"/>
                  </a:cubicBezTo>
                  <a:cubicBezTo>
                    <a:pt x="1111" y="208"/>
                    <a:pt x="1107" y="213"/>
                    <a:pt x="1107" y="218"/>
                  </a:cubicBezTo>
                  <a:cubicBezTo>
                    <a:pt x="1107" y="222"/>
                    <a:pt x="1109" y="226"/>
                    <a:pt x="1114" y="227"/>
                  </a:cubicBezTo>
                  <a:cubicBezTo>
                    <a:pt x="1117" y="228"/>
                    <a:pt x="1117" y="228"/>
                    <a:pt x="1117" y="228"/>
                  </a:cubicBezTo>
                  <a:cubicBezTo>
                    <a:pt x="1111" y="433"/>
                    <a:pt x="1111" y="433"/>
                    <a:pt x="1111" y="433"/>
                  </a:cubicBezTo>
                  <a:cubicBezTo>
                    <a:pt x="1092" y="433"/>
                    <a:pt x="1092" y="433"/>
                    <a:pt x="1092" y="433"/>
                  </a:cubicBezTo>
                  <a:cubicBezTo>
                    <a:pt x="1078" y="565"/>
                    <a:pt x="1078" y="565"/>
                    <a:pt x="1078" y="565"/>
                  </a:cubicBezTo>
                  <a:cubicBezTo>
                    <a:pt x="973" y="565"/>
                    <a:pt x="973" y="565"/>
                    <a:pt x="973" y="565"/>
                  </a:cubicBezTo>
                  <a:cubicBezTo>
                    <a:pt x="973" y="689"/>
                    <a:pt x="973" y="689"/>
                    <a:pt x="973" y="689"/>
                  </a:cubicBezTo>
                  <a:cubicBezTo>
                    <a:pt x="867" y="684"/>
                    <a:pt x="867" y="684"/>
                    <a:pt x="867" y="684"/>
                  </a:cubicBezTo>
                  <a:cubicBezTo>
                    <a:pt x="867" y="463"/>
                    <a:pt x="867" y="463"/>
                    <a:pt x="867" y="463"/>
                  </a:cubicBezTo>
                  <a:cubicBezTo>
                    <a:pt x="677" y="520"/>
                    <a:pt x="677" y="520"/>
                    <a:pt x="677" y="520"/>
                  </a:cubicBezTo>
                  <a:cubicBezTo>
                    <a:pt x="677" y="463"/>
                    <a:pt x="677" y="463"/>
                    <a:pt x="677" y="463"/>
                  </a:cubicBezTo>
                  <a:cubicBezTo>
                    <a:pt x="486" y="520"/>
                    <a:pt x="486" y="520"/>
                    <a:pt x="486" y="520"/>
                  </a:cubicBezTo>
                  <a:cubicBezTo>
                    <a:pt x="486" y="463"/>
                    <a:pt x="486" y="463"/>
                    <a:pt x="486" y="463"/>
                  </a:cubicBezTo>
                  <a:cubicBezTo>
                    <a:pt x="294" y="521"/>
                    <a:pt x="294" y="521"/>
                    <a:pt x="294" y="521"/>
                  </a:cubicBezTo>
                  <a:cubicBezTo>
                    <a:pt x="294" y="684"/>
                    <a:pt x="294" y="684"/>
                    <a:pt x="294" y="684"/>
                  </a:cubicBezTo>
                  <a:cubicBezTo>
                    <a:pt x="199" y="684"/>
                    <a:pt x="199" y="684"/>
                    <a:pt x="199" y="68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93" y="251"/>
                    <a:pt x="200" y="245"/>
                    <a:pt x="200" y="236"/>
                  </a:cubicBezTo>
                  <a:cubicBezTo>
                    <a:pt x="200" y="228"/>
                    <a:pt x="193" y="221"/>
                    <a:pt x="184" y="221"/>
                  </a:cubicBezTo>
                  <a:cubicBezTo>
                    <a:pt x="80" y="221"/>
                    <a:pt x="80" y="221"/>
                    <a:pt x="80" y="221"/>
                  </a:cubicBezTo>
                  <a:cubicBezTo>
                    <a:pt x="72" y="221"/>
                    <a:pt x="65" y="228"/>
                    <a:pt x="65" y="236"/>
                  </a:cubicBezTo>
                  <a:cubicBezTo>
                    <a:pt x="65" y="244"/>
                    <a:pt x="71" y="251"/>
                    <a:pt x="79" y="252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40" y="721"/>
                    <a:pt x="10" y="718"/>
                    <a:pt x="7" y="716"/>
                  </a:cubicBezTo>
                  <a:cubicBezTo>
                    <a:pt x="8" y="717"/>
                    <a:pt x="9" y="718"/>
                    <a:pt x="9" y="720"/>
                  </a:cubicBezTo>
                  <a:cubicBezTo>
                    <a:pt x="1" y="719"/>
                    <a:pt x="1" y="719"/>
                    <a:pt x="1" y="719"/>
                  </a:cubicBezTo>
                  <a:cubicBezTo>
                    <a:pt x="1" y="722"/>
                    <a:pt x="1" y="722"/>
                    <a:pt x="1" y="722"/>
                  </a:cubicBezTo>
                  <a:cubicBezTo>
                    <a:pt x="0" y="771"/>
                    <a:pt x="0" y="771"/>
                    <a:pt x="0" y="771"/>
                  </a:cubicBezTo>
                  <a:cubicBezTo>
                    <a:pt x="3" y="772"/>
                    <a:pt x="6" y="774"/>
                    <a:pt x="8" y="776"/>
                  </a:cubicBezTo>
                  <a:close/>
                </a:path>
              </a:pathLst>
            </a:cu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4688" y="4520206"/>
            <a:ext cx="10845800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9451" y="1859556"/>
            <a:ext cx="10845800" cy="2477922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92452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xmlns="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08069F-ACFA-4060-8519-6040F8ED5633}" type="datetime1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xmlns="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xmlns="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xmlns="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xmlns="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32533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xmlns="" id="{B62915A8-FE38-46F3-A424-354E29AB85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66211" y="3429000"/>
            <a:ext cx="5419185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66211" y="4324350"/>
            <a:ext cx="5419185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6777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C463E-C555-4902-BA61-15EE0510BD4F}" type="datetime1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4726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83243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xmlns="" id="{D3F0207C-4577-4F00-9E58-45B0F444DB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xmlns="" id="{FDBCAA77-76BF-4661-8207-2459C6652BA1}"/>
              </a:ext>
            </a:extLst>
          </p:cNvPr>
          <p:cNvGrpSpPr/>
          <p:nvPr userDrawn="1"/>
        </p:nvGrpSpPr>
        <p:grpSpPr>
          <a:xfrm>
            <a:off x="744536" y="3143568"/>
            <a:ext cx="10702925" cy="3683000"/>
            <a:chOff x="744538" y="1584325"/>
            <a:chExt cx="10702925" cy="3683000"/>
          </a:xfrm>
          <a:solidFill>
            <a:schemeClr val="bg1">
              <a:alpha val="57000"/>
            </a:schemeClr>
          </a:solidFill>
        </p:grpSpPr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xmlns="" id="{3AB13680-A5D0-4094-8957-9651F8D045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46288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" name="Rectangle 6">
              <a:extLst>
                <a:ext uri="{FF2B5EF4-FFF2-40B4-BE49-F238E27FC236}">
                  <a16:creationId xmlns:a16="http://schemas.microsoft.com/office/drawing/2014/main" xmlns="" id="{30251CD2-C4AF-4EC3-AC54-B19F9ADA71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2063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xmlns="" id="{460CF7A2-E180-47A6-9A11-9ACCE53C52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86051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xmlns="" id="{207FDC3D-57DE-4725-A4BC-3584601EEA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17851" y="4478338"/>
              <a:ext cx="103188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xmlns="" id="{78E6806A-5BE9-4FEA-997F-66BDA656FA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73426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xmlns="" id="{0E4691A5-198B-4D83-9239-8FF87B6C78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699000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6" name="Rectangle 11">
              <a:extLst>
                <a:ext uri="{FF2B5EF4-FFF2-40B4-BE49-F238E27FC236}">
                  <a16:creationId xmlns:a16="http://schemas.microsoft.com/office/drawing/2014/main" xmlns="" id="{DCF633EE-2F52-4EAE-A42F-E3272503D98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854575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7" name="Rectangle 12">
              <a:extLst>
                <a:ext uri="{FF2B5EF4-FFF2-40B4-BE49-F238E27FC236}">
                  <a16:creationId xmlns:a16="http://schemas.microsoft.com/office/drawing/2014/main" xmlns="" id="{803AB589-DF65-4D4C-BF85-01A9135B2F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663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xmlns="" id="{9BF363EC-75AB-4117-9CAE-E3ADECCDE9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11651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9" name="Rectangle 14">
              <a:extLst>
                <a:ext uri="{FF2B5EF4-FFF2-40B4-BE49-F238E27FC236}">
                  <a16:creationId xmlns:a16="http://schemas.microsoft.com/office/drawing/2014/main" xmlns="" id="{D8809B8C-089E-48E1-9EBD-7BC3C7AEF1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86276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0" name="Rectangle 15">
              <a:extLst>
                <a:ext uri="{FF2B5EF4-FFF2-40B4-BE49-F238E27FC236}">
                  <a16:creationId xmlns:a16="http://schemas.microsoft.com/office/drawing/2014/main" xmlns="" id="{3FF5DFD5-840B-4E5F-8C73-7EB3EC6B97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6418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1" name="Rectangle 16">
              <a:extLst>
                <a:ext uri="{FF2B5EF4-FFF2-40B4-BE49-F238E27FC236}">
                  <a16:creationId xmlns:a16="http://schemas.microsoft.com/office/drawing/2014/main" xmlns="" id="{EC62542D-BCE5-486B-B6E6-200D5EFCAC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816476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2" name="Rectangle 17">
              <a:extLst>
                <a:ext uri="{FF2B5EF4-FFF2-40B4-BE49-F238E27FC236}">
                  <a16:creationId xmlns:a16="http://schemas.microsoft.com/office/drawing/2014/main" xmlns="" id="{E82500EE-9823-4CEF-859B-D8DC407E81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720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3" name="Rectangle 18">
              <a:extLst>
                <a:ext uri="{FF2B5EF4-FFF2-40B4-BE49-F238E27FC236}">
                  <a16:creationId xmlns:a16="http://schemas.microsoft.com/office/drawing/2014/main" xmlns="" id="{F0F9CE3E-F14D-4452-B685-2FF2BE6BA2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46676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4" name="Rectangle 19">
              <a:extLst>
                <a:ext uri="{FF2B5EF4-FFF2-40B4-BE49-F238E27FC236}">
                  <a16:creationId xmlns:a16="http://schemas.microsoft.com/office/drawing/2014/main" xmlns="" id="{CE1EAC15-F2D9-4C5F-84A4-C1F11C0045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0663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5" name="Rectangle 20">
              <a:extLst>
                <a:ext uri="{FF2B5EF4-FFF2-40B4-BE49-F238E27FC236}">
                  <a16:creationId xmlns:a16="http://schemas.microsoft.com/office/drawing/2014/main" xmlns="" id="{E11E83D9-C7E0-4965-94E0-DCEB5433A5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5288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6" name="Rectangle 21">
              <a:extLst>
                <a:ext uri="{FF2B5EF4-FFF2-40B4-BE49-F238E27FC236}">
                  <a16:creationId xmlns:a16="http://schemas.microsoft.com/office/drawing/2014/main" xmlns="" id="{4F1B0E27-4491-428D-BE12-FFE5F6F298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4038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7" name="Rectangle 22">
              <a:extLst>
                <a:ext uri="{FF2B5EF4-FFF2-40B4-BE49-F238E27FC236}">
                  <a16:creationId xmlns:a16="http://schemas.microsoft.com/office/drawing/2014/main" xmlns="" id="{98862316-D4FF-4F42-A7E2-73851501B4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8663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8" name="Rectangle 23">
              <a:extLst>
                <a:ext uri="{FF2B5EF4-FFF2-40B4-BE49-F238E27FC236}">
                  <a16:creationId xmlns:a16="http://schemas.microsoft.com/office/drawing/2014/main" xmlns="" id="{BB0F17B9-4429-4820-9DBF-2CC9F788CF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64238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xmlns="" id="{B1BE54D1-C78E-4F88-A609-F2FF4BFD12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69551" y="2533650"/>
              <a:ext cx="661988" cy="777875"/>
            </a:xfrm>
            <a:custGeom>
              <a:avLst/>
              <a:gdLst>
                <a:gd name="T0" fmla="*/ 201 w 201"/>
                <a:gd name="T1" fmla="*/ 43 h 236"/>
                <a:gd name="T2" fmla="*/ 160 w 201"/>
                <a:gd name="T3" fmla="*/ 86 h 236"/>
                <a:gd name="T4" fmla="*/ 148 w 201"/>
                <a:gd name="T5" fmla="*/ 87 h 236"/>
                <a:gd name="T6" fmla="*/ 154 w 201"/>
                <a:gd name="T7" fmla="*/ 98 h 236"/>
                <a:gd name="T8" fmla="*/ 161 w 201"/>
                <a:gd name="T9" fmla="*/ 125 h 236"/>
                <a:gd name="T10" fmla="*/ 113 w 201"/>
                <a:gd name="T11" fmla="*/ 181 h 236"/>
                <a:gd name="T12" fmla="*/ 106 w 201"/>
                <a:gd name="T13" fmla="*/ 182 h 236"/>
                <a:gd name="T14" fmla="*/ 106 w 201"/>
                <a:gd name="T15" fmla="*/ 188 h 236"/>
                <a:gd name="T16" fmla="*/ 53 w 201"/>
                <a:gd name="T17" fmla="*/ 236 h 236"/>
                <a:gd name="T18" fmla="*/ 0 w 201"/>
                <a:gd name="T19" fmla="*/ 183 h 236"/>
                <a:gd name="T20" fmla="*/ 41 w 201"/>
                <a:gd name="T21" fmla="*/ 131 h 236"/>
                <a:gd name="T22" fmla="*/ 47 w 201"/>
                <a:gd name="T23" fmla="*/ 129 h 236"/>
                <a:gd name="T24" fmla="*/ 47 w 201"/>
                <a:gd name="T25" fmla="*/ 123 h 236"/>
                <a:gd name="T26" fmla="*/ 49 w 201"/>
                <a:gd name="T27" fmla="*/ 110 h 236"/>
                <a:gd name="T28" fmla="*/ 50 w 201"/>
                <a:gd name="T29" fmla="*/ 107 h 236"/>
                <a:gd name="T30" fmla="*/ 48 w 201"/>
                <a:gd name="T31" fmla="*/ 104 h 236"/>
                <a:gd name="T32" fmla="*/ 41 w 201"/>
                <a:gd name="T33" fmla="*/ 77 h 236"/>
                <a:gd name="T34" fmla="*/ 90 w 201"/>
                <a:gd name="T35" fmla="*/ 27 h 236"/>
                <a:gd name="T36" fmla="*/ 108 w 201"/>
                <a:gd name="T37" fmla="*/ 31 h 236"/>
                <a:gd name="T38" fmla="*/ 116 w 201"/>
                <a:gd name="T39" fmla="*/ 34 h 236"/>
                <a:gd name="T40" fmla="*/ 119 w 201"/>
                <a:gd name="T41" fmla="*/ 26 h 236"/>
                <a:gd name="T42" fmla="*/ 158 w 201"/>
                <a:gd name="T43" fmla="*/ 0 h 236"/>
                <a:gd name="T44" fmla="*/ 201 w 201"/>
                <a:gd name="T45" fmla="*/ 4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1" h="236">
                  <a:moveTo>
                    <a:pt x="201" y="43"/>
                  </a:moveTo>
                  <a:cubicBezTo>
                    <a:pt x="201" y="66"/>
                    <a:pt x="183" y="85"/>
                    <a:pt x="160" y="86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8" y="106"/>
                    <a:pt x="161" y="115"/>
                    <a:pt x="161" y="125"/>
                  </a:cubicBezTo>
                  <a:cubicBezTo>
                    <a:pt x="161" y="153"/>
                    <a:pt x="140" y="176"/>
                    <a:pt x="113" y="181"/>
                  </a:cubicBezTo>
                  <a:cubicBezTo>
                    <a:pt x="106" y="182"/>
                    <a:pt x="106" y="182"/>
                    <a:pt x="106" y="182"/>
                  </a:cubicBezTo>
                  <a:cubicBezTo>
                    <a:pt x="106" y="188"/>
                    <a:pt x="106" y="188"/>
                    <a:pt x="106" y="188"/>
                  </a:cubicBezTo>
                  <a:cubicBezTo>
                    <a:pt x="103" y="215"/>
                    <a:pt x="80" y="236"/>
                    <a:pt x="53" y="236"/>
                  </a:cubicBezTo>
                  <a:cubicBezTo>
                    <a:pt x="24" y="236"/>
                    <a:pt x="0" y="212"/>
                    <a:pt x="0" y="183"/>
                  </a:cubicBezTo>
                  <a:cubicBezTo>
                    <a:pt x="0" y="158"/>
                    <a:pt x="17" y="136"/>
                    <a:pt x="41" y="131"/>
                  </a:cubicBezTo>
                  <a:cubicBezTo>
                    <a:pt x="47" y="129"/>
                    <a:pt x="47" y="129"/>
                    <a:pt x="47" y="129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8" y="119"/>
                    <a:pt x="48" y="114"/>
                    <a:pt x="49" y="110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3" y="96"/>
                    <a:pt x="41" y="87"/>
                    <a:pt x="41" y="77"/>
                  </a:cubicBezTo>
                  <a:cubicBezTo>
                    <a:pt x="41" y="50"/>
                    <a:pt x="63" y="27"/>
                    <a:pt x="90" y="27"/>
                  </a:cubicBezTo>
                  <a:cubicBezTo>
                    <a:pt x="96" y="27"/>
                    <a:pt x="103" y="29"/>
                    <a:pt x="108" y="31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25" y="10"/>
                    <a:pt x="141" y="0"/>
                    <a:pt x="158" y="0"/>
                  </a:cubicBezTo>
                  <a:cubicBezTo>
                    <a:pt x="182" y="0"/>
                    <a:pt x="201" y="19"/>
                    <a:pt x="201" y="43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xmlns="" id="{153DC85E-1740-4BA5-8EC9-E529E5DEC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5363" y="1584325"/>
              <a:ext cx="1598613" cy="1150938"/>
            </a:xfrm>
            <a:custGeom>
              <a:avLst/>
              <a:gdLst>
                <a:gd name="T0" fmla="*/ 469 w 485"/>
                <a:gd name="T1" fmla="*/ 103 h 349"/>
                <a:gd name="T2" fmla="*/ 409 w 485"/>
                <a:gd name="T3" fmla="*/ 105 h 349"/>
                <a:gd name="T4" fmla="*/ 396 w 485"/>
                <a:gd name="T5" fmla="*/ 109 h 349"/>
                <a:gd name="T6" fmla="*/ 375 w 485"/>
                <a:gd name="T7" fmla="*/ 140 h 349"/>
                <a:gd name="T8" fmla="*/ 371 w 485"/>
                <a:gd name="T9" fmla="*/ 148 h 349"/>
                <a:gd name="T10" fmla="*/ 330 w 485"/>
                <a:gd name="T11" fmla="*/ 202 h 349"/>
                <a:gd name="T12" fmla="*/ 306 w 485"/>
                <a:gd name="T13" fmla="*/ 196 h 349"/>
                <a:gd name="T14" fmla="*/ 306 w 485"/>
                <a:gd name="T15" fmla="*/ 237 h 349"/>
                <a:gd name="T16" fmla="*/ 242 w 485"/>
                <a:gd name="T17" fmla="*/ 274 h 349"/>
                <a:gd name="T18" fmla="*/ 234 w 485"/>
                <a:gd name="T19" fmla="*/ 279 h 349"/>
                <a:gd name="T20" fmla="*/ 168 w 485"/>
                <a:gd name="T21" fmla="*/ 307 h 349"/>
                <a:gd name="T22" fmla="*/ 133 w 485"/>
                <a:gd name="T23" fmla="*/ 270 h 349"/>
                <a:gd name="T24" fmla="*/ 127 w 485"/>
                <a:gd name="T25" fmla="*/ 269 h 349"/>
                <a:gd name="T26" fmla="*/ 117 w 485"/>
                <a:gd name="T27" fmla="*/ 274 h 349"/>
                <a:gd name="T28" fmla="*/ 95 w 485"/>
                <a:gd name="T29" fmla="*/ 298 h 349"/>
                <a:gd name="T30" fmla="*/ 59 w 485"/>
                <a:gd name="T31" fmla="*/ 327 h 349"/>
                <a:gd name="T32" fmla="*/ 39 w 485"/>
                <a:gd name="T33" fmla="*/ 323 h 349"/>
                <a:gd name="T34" fmla="*/ 37 w 485"/>
                <a:gd name="T35" fmla="*/ 336 h 349"/>
                <a:gd name="T36" fmla="*/ 19 w 485"/>
                <a:gd name="T37" fmla="*/ 349 h 349"/>
                <a:gd name="T38" fmla="*/ 2 w 485"/>
                <a:gd name="T39" fmla="*/ 338 h 349"/>
                <a:gd name="T40" fmla="*/ 17 w 485"/>
                <a:gd name="T41" fmla="*/ 311 h 349"/>
                <a:gd name="T42" fmla="*/ 24 w 485"/>
                <a:gd name="T43" fmla="*/ 301 h 349"/>
                <a:gd name="T44" fmla="*/ 24 w 485"/>
                <a:gd name="T45" fmla="*/ 281 h 349"/>
                <a:gd name="T46" fmla="*/ 18 w 485"/>
                <a:gd name="T47" fmla="*/ 235 h 349"/>
                <a:gd name="T48" fmla="*/ 74 w 485"/>
                <a:gd name="T49" fmla="*/ 199 h 349"/>
                <a:gd name="T50" fmla="*/ 82 w 485"/>
                <a:gd name="T51" fmla="*/ 194 h 349"/>
                <a:gd name="T52" fmla="*/ 90 w 485"/>
                <a:gd name="T53" fmla="*/ 179 h 349"/>
                <a:gd name="T54" fmla="*/ 91 w 485"/>
                <a:gd name="T55" fmla="*/ 148 h 349"/>
                <a:gd name="T56" fmla="*/ 154 w 485"/>
                <a:gd name="T57" fmla="*/ 117 h 349"/>
                <a:gd name="T58" fmla="*/ 176 w 485"/>
                <a:gd name="T59" fmla="*/ 131 h 349"/>
                <a:gd name="T60" fmla="*/ 206 w 485"/>
                <a:gd name="T61" fmla="*/ 111 h 349"/>
                <a:gd name="T62" fmla="*/ 212 w 485"/>
                <a:gd name="T63" fmla="*/ 103 h 349"/>
                <a:gd name="T64" fmla="*/ 265 w 485"/>
                <a:gd name="T65" fmla="*/ 46 h 349"/>
                <a:gd name="T66" fmla="*/ 298 w 485"/>
                <a:gd name="T67" fmla="*/ 57 h 349"/>
                <a:gd name="T68" fmla="*/ 313 w 485"/>
                <a:gd name="T69" fmla="*/ 45 h 349"/>
                <a:gd name="T70" fmla="*/ 317 w 485"/>
                <a:gd name="T71" fmla="*/ 40 h 349"/>
                <a:gd name="T72" fmla="*/ 366 w 485"/>
                <a:gd name="T73" fmla="*/ 0 h 349"/>
                <a:gd name="T74" fmla="*/ 411 w 485"/>
                <a:gd name="T75" fmla="*/ 30 h 349"/>
                <a:gd name="T76" fmla="*/ 421 w 485"/>
                <a:gd name="T77" fmla="*/ 34 h 349"/>
                <a:gd name="T78" fmla="*/ 468 w 485"/>
                <a:gd name="T79" fmla="*/ 4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5" h="349">
                  <a:moveTo>
                    <a:pt x="468" y="42"/>
                  </a:moveTo>
                  <a:cubicBezTo>
                    <a:pt x="485" y="59"/>
                    <a:pt x="485" y="86"/>
                    <a:pt x="469" y="103"/>
                  </a:cubicBezTo>
                  <a:cubicBezTo>
                    <a:pt x="461" y="112"/>
                    <a:pt x="450" y="116"/>
                    <a:pt x="438" y="116"/>
                  </a:cubicBezTo>
                  <a:cubicBezTo>
                    <a:pt x="427" y="116"/>
                    <a:pt x="417" y="112"/>
                    <a:pt x="409" y="105"/>
                  </a:cubicBezTo>
                  <a:cubicBezTo>
                    <a:pt x="400" y="97"/>
                    <a:pt x="400" y="97"/>
                    <a:pt x="400" y="97"/>
                  </a:cubicBezTo>
                  <a:cubicBezTo>
                    <a:pt x="396" y="109"/>
                    <a:pt x="396" y="109"/>
                    <a:pt x="396" y="109"/>
                  </a:cubicBezTo>
                  <a:cubicBezTo>
                    <a:pt x="394" y="118"/>
                    <a:pt x="389" y="126"/>
                    <a:pt x="383" y="133"/>
                  </a:cubicBezTo>
                  <a:cubicBezTo>
                    <a:pt x="380" y="136"/>
                    <a:pt x="378" y="138"/>
                    <a:pt x="375" y="140"/>
                  </a:cubicBezTo>
                  <a:cubicBezTo>
                    <a:pt x="370" y="143"/>
                    <a:pt x="370" y="143"/>
                    <a:pt x="370" y="143"/>
                  </a:cubicBezTo>
                  <a:cubicBezTo>
                    <a:pt x="371" y="148"/>
                    <a:pt x="371" y="148"/>
                    <a:pt x="371" y="148"/>
                  </a:cubicBezTo>
                  <a:cubicBezTo>
                    <a:pt x="373" y="156"/>
                    <a:pt x="373" y="165"/>
                    <a:pt x="370" y="172"/>
                  </a:cubicBezTo>
                  <a:cubicBezTo>
                    <a:pt x="365" y="190"/>
                    <a:pt x="348" y="202"/>
                    <a:pt x="330" y="202"/>
                  </a:cubicBezTo>
                  <a:cubicBezTo>
                    <a:pt x="326" y="202"/>
                    <a:pt x="322" y="201"/>
                    <a:pt x="318" y="200"/>
                  </a:cubicBezTo>
                  <a:cubicBezTo>
                    <a:pt x="306" y="196"/>
                    <a:pt x="306" y="196"/>
                    <a:pt x="306" y="196"/>
                  </a:cubicBezTo>
                  <a:cubicBezTo>
                    <a:pt x="308" y="209"/>
                    <a:pt x="308" y="209"/>
                    <a:pt x="308" y="209"/>
                  </a:cubicBezTo>
                  <a:cubicBezTo>
                    <a:pt x="309" y="218"/>
                    <a:pt x="309" y="228"/>
                    <a:pt x="306" y="237"/>
                  </a:cubicBezTo>
                  <a:cubicBezTo>
                    <a:pt x="298" y="260"/>
                    <a:pt x="276" y="275"/>
                    <a:pt x="252" y="275"/>
                  </a:cubicBezTo>
                  <a:cubicBezTo>
                    <a:pt x="249" y="275"/>
                    <a:pt x="246" y="275"/>
                    <a:pt x="242" y="274"/>
                  </a:cubicBezTo>
                  <a:cubicBezTo>
                    <a:pt x="236" y="273"/>
                    <a:pt x="236" y="273"/>
                    <a:pt x="236" y="273"/>
                  </a:cubicBezTo>
                  <a:cubicBezTo>
                    <a:pt x="234" y="279"/>
                    <a:pt x="234" y="279"/>
                    <a:pt x="234" y="279"/>
                  </a:cubicBezTo>
                  <a:cubicBezTo>
                    <a:pt x="225" y="298"/>
                    <a:pt x="206" y="310"/>
                    <a:pt x="185" y="310"/>
                  </a:cubicBezTo>
                  <a:cubicBezTo>
                    <a:pt x="179" y="310"/>
                    <a:pt x="174" y="309"/>
                    <a:pt x="168" y="307"/>
                  </a:cubicBezTo>
                  <a:cubicBezTo>
                    <a:pt x="153" y="302"/>
                    <a:pt x="141" y="290"/>
                    <a:pt x="135" y="275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8" y="269"/>
                    <a:pt x="127" y="269"/>
                    <a:pt x="127" y="269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17" y="274"/>
                    <a:pt x="117" y="274"/>
                    <a:pt x="117" y="274"/>
                  </a:cubicBezTo>
                  <a:cubicBezTo>
                    <a:pt x="113" y="283"/>
                    <a:pt x="106" y="291"/>
                    <a:pt x="97" y="296"/>
                  </a:cubicBezTo>
                  <a:cubicBezTo>
                    <a:pt x="95" y="298"/>
                    <a:pt x="95" y="298"/>
                    <a:pt x="95" y="298"/>
                  </a:cubicBezTo>
                  <a:cubicBezTo>
                    <a:pt x="93" y="302"/>
                    <a:pt x="93" y="302"/>
                    <a:pt x="93" y="302"/>
                  </a:cubicBezTo>
                  <a:cubicBezTo>
                    <a:pt x="88" y="317"/>
                    <a:pt x="75" y="327"/>
                    <a:pt x="59" y="327"/>
                  </a:cubicBezTo>
                  <a:cubicBezTo>
                    <a:pt x="55" y="327"/>
                    <a:pt x="52" y="326"/>
                    <a:pt x="48" y="325"/>
                  </a:cubicBezTo>
                  <a:cubicBezTo>
                    <a:pt x="39" y="323"/>
                    <a:pt x="39" y="323"/>
                    <a:pt x="39" y="323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38" y="333"/>
                    <a:pt x="38" y="335"/>
                    <a:pt x="37" y="336"/>
                  </a:cubicBezTo>
                  <a:cubicBezTo>
                    <a:pt x="36" y="340"/>
                    <a:pt x="33" y="343"/>
                    <a:pt x="30" y="345"/>
                  </a:cubicBezTo>
                  <a:cubicBezTo>
                    <a:pt x="27" y="347"/>
                    <a:pt x="23" y="349"/>
                    <a:pt x="19" y="349"/>
                  </a:cubicBezTo>
                  <a:cubicBezTo>
                    <a:pt x="17" y="349"/>
                    <a:pt x="15" y="348"/>
                    <a:pt x="13" y="348"/>
                  </a:cubicBezTo>
                  <a:cubicBezTo>
                    <a:pt x="9" y="346"/>
                    <a:pt x="5" y="343"/>
                    <a:pt x="2" y="338"/>
                  </a:cubicBezTo>
                  <a:cubicBezTo>
                    <a:pt x="0" y="334"/>
                    <a:pt x="0" y="328"/>
                    <a:pt x="1" y="324"/>
                  </a:cubicBezTo>
                  <a:cubicBezTo>
                    <a:pt x="4" y="317"/>
                    <a:pt x="10" y="312"/>
                    <a:pt x="17" y="311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4" y="301"/>
                    <a:pt x="24" y="301"/>
                    <a:pt x="24" y="301"/>
                  </a:cubicBezTo>
                  <a:cubicBezTo>
                    <a:pt x="22" y="295"/>
                    <a:pt x="22" y="289"/>
                    <a:pt x="23" y="284"/>
                  </a:cubicBezTo>
                  <a:cubicBezTo>
                    <a:pt x="24" y="281"/>
                    <a:pt x="24" y="281"/>
                    <a:pt x="24" y="281"/>
                  </a:cubicBezTo>
                  <a:cubicBezTo>
                    <a:pt x="22" y="278"/>
                    <a:pt x="22" y="278"/>
                    <a:pt x="22" y="278"/>
                  </a:cubicBezTo>
                  <a:cubicBezTo>
                    <a:pt x="15" y="265"/>
                    <a:pt x="13" y="249"/>
                    <a:pt x="18" y="235"/>
                  </a:cubicBezTo>
                  <a:cubicBezTo>
                    <a:pt x="25" y="213"/>
                    <a:pt x="46" y="198"/>
                    <a:pt x="68" y="198"/>
                  </a:cubicBezTo>
                  <a:cubicBezTo>
                    <a:pt x="70" y="198"/>
                    <a:pt x="72" y="199"/>
                    <a:pt x="74" y="199"/>
                  </a:cubicBezTo>
                  <a:cubicBezTo>
                    <a:pt x="80" y="199"/>
                    <a:pt x="80" y="199"/>
                    <a:pt x="80" y="199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4" y="190"/>
                    <a:pt x="86" y="186"/>
                    <a:pt x="88" y="182"/>
                  </a:cubicBezTo>
                  <a:cubicBezTo>
                    <a:pt x="90" y="179"/>
                    <a:pt x="90" y="179"/>
                    <a:pt x="90" y="179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7" y="166"/>
                    <a:pt x="88" y="157"/>
                    <a:pt x="91" y="148"/>
                  </a:cubicBezTo>
                  <a:cubicBezTo>
                    <a:pt x="97" y="128"/>
                    <a:pt x="116" y="114"/>
                    <a:pt x="138" y="114"/>
                  </a:cubicBezTo>
                  <a:cubicBezTo>
                    <a:pt x="143" y="114"/>
                    <a:pt x="149" y="115"/>
                    <a:pt x="154" y="117"/>
                  </a:cubicBezTo>
                  <a:cubicBezTo>
                    <a:pt x="160" y="119"/>
                    <a:pt x="165" y="122"/>
                    <a:pt x="170" y="126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1" y="125"/>
                    <a:pt x="181" y="125"/>
                    <a:pt x="181" y="125"/>
                  </a:cubicBezTo>
                  <a:cubicBezTo>
                    <a:pt x="187" y="118"/>
                    <a:pt x="196" y="113"/>
                    <a:pt x="206" y="111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2" y="103"/>
                    <a:pt x="212" y="103"/>
                    <a:pt x="212" y="103"/>
                  </a:cubicBezTo>
                  <a:cubicBezTo>
                    <a:pt x="211" y="88"/>
                    <a:pt x="217" y="73"/>
                    <a:pt x="227" y="62"/>
                  </a:cubicBezTo>
                  <a:cubicBezTo>
                    <a:pt x="237" y="52"/>
                    <a:pt x="251" y="46"/>
                    <a:pt x="265" y="46"/>
                  </a:cubicBezTo>
                  <a:cubicBezTo>
                    <a:pt x="275" y="46"/>
                    <a:pt x="285" y="49"/>
                    <a:pt x="293" y="54"/>
                  </a:cubicBezTo>
                  <a:cubicBezTo>
                    <a:pt x="298" y="57"/>
                    <a:pt x="298" y="57"/>
                    <a:pt x="298" y="57"/>
                  </a:cubicBezTo>
                  <a:cubicBezTo>
                    <a:pt x="303" y="53"/>
                    <a:pt x="303" y="53"/>
                    <a:pt x="303" y="53"/>
                  </a:cubicBezTo>
                  <a:cubicBezTo>
                    <a:pt x="306" y="50"/>
                    <a:pt x="309" y="47"/>
                    <a:pt x="313" y="45"/>
                  </a:cubicBezTo>
                  <a:cubicBezTo>
                    <a:pt x="316" y="43"/>
                    <a:pt x="316" y="43"/>
                    <a:pt x="316" y="43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19" y="31"/>
                    <a:pt x="323" y="22"/>
                    <a:pt x="330" y="15"/>
                  </a:cubicBezTo>
                  <a:cubicBezTo>
                    <a:pt x="339" y="6"/>
                    <a:pt x="352" y="0"/>
                    <a:pt x="366" y="0"/>
                  </a:cubicBezTo>
                  <a:cubicBezTo>
                    <a:pt x="379" y="0"/>
                    <a:pt x="391" y="5"/>
                    <a:pt x="400" y="14"/>
                  </a:cubicBezTo>
                  <a:cubicBezTo>
                    <a:pt x="405" y="19"/>
                    <a:pt x="408" y="24"/>
                    <a:pt x="411" y="30"/>
                  </a:cubicBezTo>
                  <a:cubicBezTo>
                    <a:pt x="414" y="37"/>
                    <a:pt x="414" y="37"/>
                    <a:pt x="414" y="37"/>
                  </a:cubicBezTo>
                  <a:cubicBezTo>
                    <a:pt x="421" y="34"/>
                    <a:pt x="421" y="34"/>
                    <a:pt x="421" y="34"/>
                  </a:cubicBezTo>
                  <a:cubicBezTo>
                    <a:pt x="427" y="31"/>
                    <a:pt x="432" y="30"/>
                    <a:pt x="438" y="30"/>
                  </a:cubicBezTo>
                  <a:cubicBezTo>
                    <a:pt x="449" y="30"/>
                    <a:pt x="460" y="35"/>
                    <a:pt x="468" y="42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1" name="Rectangle 26">
              <a:extLst>
                <a:ext uri="{FF2B5EF4-FFF2-40B4-BE49-F238E27FC236}">
                  <a16:creationId xmlns:a16="http://schemas.microsoft.com/office/drawing/2014/main" xmlns="" id="{941D8F2F-4722-416D-805E-5153EED3EF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92301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xmlns="" id="{E46E9D18-6CEF-4EA8-9D73-E2A74D7C5D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538" y="2444750"/>
              <a:ext cx="10702925" cy="2822575"/>
            </a:xfrm>
            <a:custGeom>
              <a:avLst/>
              <a:gdLst>
                <a:gd name="T0" fmla="*/ 87 w 3246"/>
                <a:gd name="T1" fmla="*/ 244 h 856"/>
                <a:gd name="T2" fmla="*/ 192 w 3246"/>
                <a:gd name="T3" fmla="*/ 236 h 856"/>
                <a:gd name="T4" fmla="*/ 302 w 3246"/>
                <a:gd name="T5" fmla="*/ 527 h 856"/>
                <a:gd name="T6" fmla="*/ 859 w 3246"/>
                <a:gd name="T7" fmla="*/ 473 h 856"/>
                <a:gd name="T8" fmla="*/ 1099 w 3246"/>
                <a:gd name="T9" fmla="*/ 441 h 856"/>
                <a:gd name="T10" fmla="*/ 1116 w 3246"/>
                <a:gd name="T11" fmla="*/ 216 h 856"/>
                <a:gd name="T12" fmla="*/ 1164 w 3246"/>
                <a:gd name="T13" fmla="*/ 441 h 856"/>
                <a:gd name="T14" fmla="*/ 1312 w 3246"/>
                <a:gd name="T15" fmla="*/ 441 h 856"/>
                <a:gd name="T16" fmla="*/ 1358 w 3246"/>
                <a:gd name="T17" fmla="*/ 105 h 856"/>
                <a:gd name="T18" fmla="*/ 1378 w 3246"/>
                <a:gd name="T19" fmla="*/ 441 h 856"/>
                <a:gd name="T20" fmla="*/ 1526 w 3246"/>
                <a:gd name="T21" fmla="*/ 14 h 856"/>
                <a:gd name="T22" fmla="*/ 1568 w 3246"/>
                <a:gd name="T23" fmla="*/ 10 h 856"/>
                <a:gd name="T24" fmla="*/ 1596 w 3246"/>
                <a:gd name="T25" fmla="*/ 573 h 856"/>
                <a:gd name="T26" fmla="*/ 1828 w 3246"/>
                <a:gd name="T27" fmla="*/ 684 h 856"/>
                <a:gd name="T28" fmla="*/ 1877 w 3246"/>
                <a:gd name="T29" fmla="*/ 495 h 856"/>
                <a:gd name="T30" fmla="*/ 1876 w 3246"/>
                <a:gd name="T31" fmla="*/ 300 h 856"/>
                <a:gd name="T32" fmla="*/ 1974 w 3246"/>
                <a:gd name="T33" fmla="*/ 207 h 856"/>
                <a:gd name="T34" fmla="*/ 2071 w 3246"/>
                <a:gd name="T35" fmla="*/ 484 h 856"/>
                <a:gd name="T36" fmla="*/ 2035 w 3246"/>
                <a:gd name="T37" fmla="*/ 554 h 856"/>
                <a:gd name="T38" fmla="*/ 2220 w 3246"/>
                <a:gd name="T39" fmla="*/ 624 h 856"/>
                <a:gd name="T40" fmla="*/ 2300 w 3246"/>
                <a:gd name="T41" fmla="*/ 490 h 856"/>
                <a:gd name="T42" fmla="*/ 2432 w 3246"/>
                <a:gd name="T43" fmla="*/ 450 h 856"/>
                <a:gd name="T44" fmla="*/ 2631 w 3246"/>
                <a:gd name="T45" fmla="*/ 729 h 856"/>
                <a:gd name="T46" fmla="*/ 2872 w 3246"/>
                <a:gd name="T47" fmla="*/ 443 h 856"/>
                <a:gd name="T48" fmla="*/ 2875 w 3246"/>
                <a:gd name="T49" fmla="*/ 395 h 856"/>
                <a:gd name="T50" fmla="*/ 3036 w 3246"/>
                <a:gd name="T51" fmla="*/ 350 h 856"/>
                <a:gd name="T52" fmla="*/ 3027 w 3246"/>
                <a:gd name="T53" fmla="*/ 410 h 856"/>
                <a:gd name="T54" fmla="*/ 3236 w 3246"/>
                <a:gd name="T55" fmla="*/ 837 h 856"/>
                <a:gd name="T56" fmla="*/ 3237 w 3246"/>
                <a:gd name="T57" fmla="*/ 829 h 856"/>
                <a:gd name="T58" fmla="*/ 3036 w 3246"/>
                <a:gd name="T59" fmla="*/ 432 h 856"/>
                <a:gd name="T60" fmla="*/ 3035 w 3246"/>
                <a:gd name="T61" fmla="*/ 410 h 856"/>
                <a:gd name="T62" fmla="*/ 3035 w 3246"/>
                <a:gd name="T63" fmla="*/ 378 h 856"/>
                <a:gd name="T64" fmla="*/ 2857 w 3246"/>
                <a:gd name="T65" fmla="*/ 358 h 856"/>
                <a:gd name="T66" fmla="*/ 2867 w 3246"/>
                <a:gd name="T67" fmla="*/ 390 h 856"/>
                <a:gd name="T68" fmla="*/ 2862 w 3246"/>
                <a:gd name="T69" fmla="*/ 425 h 856"/>
                <a:gd name="T70" fmla="*/ 2741 w 3246"/>
                <a:gd name="T71" fmla="*/ 829 h 856"/>
                <a:gd name="T72" fmla="*/ 2480 w 3246"/>
                <a:gd name="T73" fmla="*/ 616 h 856"/>
                <a:gd name="T74" fmla="*/ 2385 w 3246"/>
                <a:gd name="T75" fmla="*/ 490 h 856"/>
                <a:gd name="T76" fmla="*/ 2259 w 3246"/>
                <a:gd name="T77" fmla="*/ 442 h 856"/>
                <a:gd name="T78" fmla="*/ 2158 w 3246"/>
                <a:gd name="T79" fmla="*/ 676 h 856"/>
                <a:gd name="T80" fmla="*/ 2044 w 3246"/>
                <a:gd name="T81" fmla="*/ 549 h 856"/>
                <a:gd name="T82" fmla="*/ 2069 w 3246"/>
                <a:gd name="T83" fmla="*/ 458 h 856"/>
                <a:gd name="T84" fmla="*/ 2069 w 3246"/>
                <a:gd name="T85" fmla="*/ 300 h 856"/>
                <a:gd name="T86" fmla="*/ 1957 w 3246"/>
                <a:gd name="T87" fmla="*/ 200 h 856"/>
                <a:gd name="T88" fmla="*/ 1866 w 3246"/>
                <a:gd name="T89" fmla="*/ 372 h 856"/>
                <a:gd name="T90" fmla="*/ 1868 w 3246"/>
                <a:gd name="T91" fmla="*/ 492 h 856"/>
                <a:gd name="T92" fmla="*/ 1827 w 3246"/>
                <a:gd name="T93" fmla="*/ 675 h 856"/>
                <a:gd name="T94" fmla="*/ 1694 w 3246"/>
                <a:gd name="T95" fmla="*/ 565 h 856"/>
                <a:gd name="T96" fmla="*/ 1570 w 3246"/>
                <a:gd name="T97" fmla="*/ 18 h 856"/>
                <a:gd name="T98" fmla="*/ 1515 w 3246"/>
                <a:gd name="T99" fmla="*/ 19 h 856"/>
                <a:gd name="T100" fmla="*/ 1396 w 3246"/>
                <a:gd name="T101" fmla="*/ 565 h 856"/>
                <a:gd name="T102" fmla="*/ 1368 w 3246"/>
                <a:gd name="T103" fmla="*/ 107 h 856"/>
                <a:gd name="T104" fmla="*/ 1311 w 3246"/>
                <a:gd name="T105" fmla="*/ 117 h 856"/>
                <a:gd name="T106" fmla="*/ 1187 w 3246"/>
                <a:gd name="T107" fmla="*/ 433 h 856"/>
                <a:gd name="T108" fmla="*/ 1165 w 3246"/>
                <a:gd name="T109" fmla="*/ 208 h 856"/>
                <a:gd name="T110" fmla="*/ 1111 w 3246"/>
                <a:gd name="T111" fmla="*/ 433 h 856"/>
                <a:gd name="T112" fmla="*/ 867 w 3246"/>
                <a:gd name="T113" fmla="*/ 684 h 856"/>
                <a:gd name="T114" fmla="*/ 486 w 3246"/>
                <a:gd name="T115" fmla="*/ 463 h 856"/>
                <a:gd name="T116" fmla="*/ 200 w 3246"/>
                <a:gd name="T117" fmla="*/ 236 h 856"/>
                <a:gd name="T118" fmla="*/ 62 w 3246"/>
                <a:gd name="T119" fmla="*/ 723 h 856"/>
                <a:gd name="T120" fmla="*/ 0 w 3246"/>
                <a:gd name="T121" fmla="*/ 771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46" h="856">
                  <a:moveTo>
                    <a:pt x="8" y="776"/>
                  </a:moveTo>
                  <a:cubicBezTo>
                    <a:pt x="9" y="725"/>
                    <a:pt x="9" y="725"/>
                    <a:pt x="9" y="725"/>
                  </a:cubicBezTo>
                  <a:cubicBezTo>
                    <a:pt x="16" y="726"/>
                    <a:pt x="33" y="728"/>
                    <a:pt x="65" y="731"/>
                  </a:cubicBezTo>
                  <a:cubicBezTo>
                    <a:pt x="69" y="732"/>
                    <a:pt x="69" y="732"/>
                    <a:pt x="69" y="732"/>
                  </a:cubicBezTo>
                  <a:cubicBezTo>
                    <a:pt x="87" y="244"/>
                    <a:pt x="87" y="244"/>
                    <a:pt x="87" y="244"/>
                  </a:cubicBezTo>
                  <a:cubicBezTo>
                    <a:pt x="80" y="244"/>
                    <a:pt x="80" y="244"/>
                    <a:pt x="80" y="244"/>
                  </a:cubicBezTo>
                  <a:cubicBezTo>
                    <a:pt x="76" y="244"/>
                    <a:pt x="73" y="240"/>
                    <a:pt x="73" y="236"/>
                  </a:cubicBezTo>
                  <a:cubicBezTo>
                    <a:pt x="73" y="232"/>
                    <a:pt x="76" y="229"/>
                    <a:pt x="80" y="229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88" y="229"/>
                    <a:pt x="192" y="232"/>
                    <a:pt x="192" y="236"/>
                  </a:cubicBezTo>
                  <a:cubicBezTo>
                    <a:pt x="192" y="240"/>
                    <a:pt x="188" y="244"/>
                    <a:pt x="184" y="244"/>
                  </a:cubicBezTo>
                  <a:cubicBezTo>
                    <a:pt x="176" y="244"/>
                    <a:pt x="176" y="244"/>
                    <a:pt x="176" y="244"/>
                  </a:cubicBezTo>
                  <a:cubicBezTo>
                    <a:pt x="191" y="692"/>
                    <a:pt x="191" y="692"/>
                    <a:pt x="191" y="692"/>
                  </a:cubicBezTo>
                  <a:cubicBezTo>
                    <a:pt x="302" y="692"/>
                    <a:pt x="302" y="692"/>
                    <a:pt x="302" y="692"/>
                  </a:cubicBezTo>
                  <a:cubicBezTo>
                    <a:pt x="302" y="527"/>
                    <a:pt x="302" y="527"/>
                    <a:pt x="302" y="527"/>
                  </a:cubicBezTo>
                  <a:cubicBezTo>
                    <a:pt x="478" y="473"/>
                    <a:pt x="478" y="473"/>
                    <a:pt x="478" y="473"/>
                  </a:cubicBezTo>
                  <a:cubicBezTo>
                    <a:pt x="478" y="531"/>
                    <a:pt x="478" y="531"/>
                    <a:pt x="478" y="531"/>
                  </a:cubicBezTo>
                  <a:cubicBezTo>
                    <a:pt x="669" y="473"/>
                    <a:pt x="669" y="473"/>
                    <a:pt x="669" y="473"/>
                  </a:cubicBezTo>
                  <a:cubicBezTo>
                    <a:pt x="669" y="531"/>
                    <a:pt x="669" y="531"/>
                    <a:pt x="669" y="531"/>
                  </a:cubicBezTo>
                  <a:cubicBezTo>
                    <a:pt x="859" y="473"/>
                    <a:pt x="859" y="473"/>
                    <a:pt x="859" y="473"/>
                  </a:cubicBezTo>
                  <a:cubicBezTo>
                    <a:pt x="859" y="692"/>
                    <a:pt x="859" y="692"/>
                    <a:pt x="859" y="692"/>
                  </a:cubicBezTo>
                  <a:cubicBezTo>
                    <a:pt x="981" y="698"/>
                    <a:pt x="981" y="698"/>
                    <a:pt x="981" y="698"/>
                  </a:cubicBezTo>
                  <a:cubicBezTo>
                    <a:pt x="981" y="573"/>
                    <a:pt x="981" y="573"/>
                    <a:pt x="981" y="573"/>
                  </a:cubicBezTo>
                  <a:cubicBezTo>
                    <a:pt x="1085" y="573"/>
                    <a:pt x="1085" y="573"/>
                    <a:pt x="1085" y="573"/>
                  </a:cubicBezTo>
                  <a:cubicBezTo>
                    <a:pt x="1099" y="441"/>
                    <a:pt x="1099" y="441"/>
                    <a:pt x="1099" y="441"/>
                  </a:cubicBezTo>
                  <a:cubicBezTo>
                    <a:pt x="1118" y="441"/>
                    <a:pt x="1118" y="441"/>
                    <a:pt x="1118" y="441"/>
                  </a:cubicBezTo>
                  <a:cubicBezTo>
                    <a:pt x="1125" y="222"/>
                    <a:pt x="1125" y="222"/>
                    <a:pt x="1125" y="222"/>
                  </a:cubicBezTo>
                  <a:cubicBezTo>
                    <a:pt x="1116" y="220"/>
                    <a:pt x="1116" y="220"/>
                    <a:pt x="1116" y="220"/>
                  </a:cubicBezTo>
                  <a:cubicBezTo>
                    <a:pt x="1115" y="219"/>
                    <a:pt x="1115" y="219"/>
                    <a:pt x="1115" y="218"/>
                  </a:cubicBezTo>
                  <a:cubicBezTo>
                    <a:pt x="1115" y="217"/>
                    <a:pt x="1115" y="216"/>
                    <a:pt x="1116" y="216"/>
                  </a:cubicBezTo>
                  <a:cubicBezTo>
                    <a:pt x="1165" y="216"/>
                    <a:pt x="1165" y="216"/>
                    <a:pt x="1165" y="216"/>
                  </a:cubicBezTo>
                  <a:cubicBezTo>
                    <a:pt x="1166" y="216"/>
                    <a:pt x="1167" y="217"/>
                    <a:pt x="1167" y="218"/>
                  </a:cubicBezTo>
                  <a:cubicBezTo>
                    <a:pt x="1167" y="219"/>
                    <a:pt x="1166" y="219"/>
                    <a:pt x="1166" y="220"/>
                  </a:cubicBezTo>
                  <a:cubicBezTo>
                    <a:pt x="1159" y="223"/>
                    <a:pt x="1159" y="223"/>
                    <a:pt x="1159" y="223"/>
                  </a:cubicBezTo>
                  <a:cubicBezTo>
                    <a:pt x="1164" y="441"/>
                    <a:pt x="1164" y="441"/>
                    <a:pt x="1164" y="441"/>
                  </a:cubicBezTo>
                  <a:cubicBezTo>
                    <a:pt x="1179" y="441"/>
                    <a:pt x="1179" y="441"/>
                    <a:pt x="1179" y="441"/>
                  </a:cubicBezTo>
                  <a:cubicBezTo>
                    <a:pt x="1190" y="573"/>
                    <a:pt x="1190" y="573"/>
                    <a:pt x="1190" y="573"/>
                  </a:cubicBezTo>
                  <a:cubicBezTo>
                    <a:pt x="1284" y="573"/>
                    <a:pt x="1284" y="573"/>
                    <a:pt x="1284" y="573"/>
                  </a:cubicBezTo>
                  <a:cubicBezTo>
                    <a:pt x="1298" y="441"/>
                    <a:pt x="1298" y="441"/>
                    <a:pt x="1298" y="441"/>
                  </a:cubicBezTo>
                  <a:cubicBezTo>
                    <a:pt x="1312" y="441"/>
                    <a:pt x="1312" y="441"/>
                    <a:pt x="1312" y="441"/>
                  </a:cubicBezTo>
                  <a:cubicBezTo>
                    <a:pt x="1319" y="110"/>
                    <a:pt x="1319" y="110"/>
                    <a:pt x="1319" y="110"/>
                  </a:cubicBezTo>
                  <a:cubicBezTo>
                    <a:pt x="1309" y="108"/>
                    <a:pt x="1309" y="108"/>
                    <a:pt x="1309" y="108"/>
                  </a:cubicBezTo>
                  <a:cubicBezTo>
                    <a:pt x="1308" y="108"/>
                    <a:pt x="1308" y="107"/>
                    <a:pt x="1308" y="107"/>
                  </a:cubicBezTo>
                  <a:cubicBezTo>
                    <a:pt x="1308" y="106"/>
                    <a:pt x="1308" y="105"/>
                    <a:pt x="1309" y="105"/>
                  </a:cubicBezTo>
                  <a:cubicBezTo>
                    <a:pt x="1358" y="105"/>
                    <a:pt x="1358" y="105"/>
                    <a:pt x="1358" y="105"/>
                  </a:cubicBezTo>
                  <a:cubicBezTo>
                    <a:pt x="1359" y="105"/>
                    <a:pt x="1360" y="106"/>
                    <a:pt x="1360" y="107"/>
                  </a:cubicBezTo>
                  <a:cubicBezTo>
                    <a:pt x="1360" y="107"/>
                    <a:pt x="1359" y="108"/>
                    <a:pt x="1359" y="108"/>
                  </a:cubicBezTo>
                  <a:cubicBezTo>
                    <a:pt x="1353" y="112"/>
                    <a:pt x="1353" y="112"/>
                    <a:pt x="1353" y="112"/>
                  </a:cubicBezTo>
                  <a:cubicBezTo>
                    <a:pt x="1359" y="441"/>
                    <a:pt x="1359" y="441"/>
                    <a:pt x="1359" y="441"/>
                  </a:cubicBezTo>
                  <a:cubicBezTo>
                    <a:pt x="1378" y="441"/>
                    <a:pt x="1378" y="441"/>
                    <a:pt x="1378" y="441"/>
                  </a:cubicBezTo>
                  <a:cubicBezTo>
                    <a:pt x="1389" y="573"/>
                    <a:pt x="1389" y="573"/>
                    <a:pt x="1389" y="573"/>
                  </a:cubicBezTo>
                  <a:cubicBezTo>
                    <a:pt x="1491" y="573"/>
                    <a:pt x="1491" y="573"/>
                    <a:pt x="1491" y="573"/>
                  </a:cubicBezTo>
                  <a:cubicBezTo>
                    <a:pt x="1504" y="441"/>
                    <a:pt x="1504" y="441"/>
                    <a:pt x="1504" y="441"/>
                  </a:cubicBezTo>
                  <a:cubicBezTo>
                    <a:pt x="1518" y="441"/>
                    <a:pt x="1518" y="441"/>
                    <a:pt x="1518" y="441"/>
                  </a:cubicBezTo>
                  <a:cubicBezTo>
                    <a:pt x="1526" y="14"/>
                    <a:pt x="1526" y="14"/>
                    <a:pt x="1526" y="14"/>
                  </a:cubicBezTo>
                  <a:cubicBezTo>
                    <a:pt x="1517" y="11"/>
                    <a:pt x="1517" y="11"/>
                    <a:pt x="1517" y="11"/>
                  </a:cubicBezTo>
                  <a:cubicBezTo>
                    <a:pt x="1517" y="11"/>
                    <a:pt x="1516" y="10"/>
                    <a:pt x="1516" y="10"/>
                  </a:cubicBezTo>
                  <a:cubicBezTo>
                    <a:pt x="1516" y="9"/>
                    <a:pt x="1517" y="8"/>
                    <a:pt x="1518" y="8"/>
                  </a:cubicBezTo>
                  <a:cubicBezTo>
                    <a:pt x="1566" y="8"/>
                    <a:pt x="1566" y="8"/>
                    <a:pt x="1566" y="8"/>
                  </a:cubicBezTo>
                  <a:cubicBezTo>
                    <a:pt x="1567" y="8"/>
                    <a:pt x="1568" y="9"/>
                    <a:pt x="1568" y="10"/>
                  </a:cubicBezTo>
                  <a:cubicBezTo>
                    <a:pt x="1568" y="10"/>
                    <a:pt x="1568" y="11"/>
                    <a:pt x="1567" y="11"/>
                  </a:cubicBezTo>
                  <a:cubicBezTo>
                    <a:pt x="1560" y="14"/>
                    <a:pt x="1560" y="14"/>
                    <a:pt x="1560" y="14"/>
                  </a:cubicBezTo>
                  <a:cubicBezTo>
                    <a:pt x="1566" y="441"/>
                    <a:pt x="1566" y="441"/>
                    <a:pt x="1566" y="441"/>
                  </a:cubicBezTo>
                  <a:cubicBezTo>
                    <a:pt x="1585" y="441"/>
                    <a:pt x="1585" y="441"/>
                    <a:pt x="1585" y="441"/>
                  </a:cubicBezTo>
                  <a:cubicBezTo>
                    <a:pt x="1596" y="573"/>
                    <a:pt x="1596" y="573"/>
                    <a:pt x="1596" y="573"/>
                  </a:cubicBezTo>
                  <a:cubicBezTo>
                    <a:pt x="1686" y="573"/>
                    <a:pt x="1686" y="573"/>
                    <a:pt x="1686" y="573"/>
                  </a:cubicBezTo>
                  <a:cubicBezTo>
                    <a:pt x="1686" y="697"/>
                    <a:pt x="1686" y="697"/>
                    <a:pt x="1686" y="697"/>
                  </a:cubicBezTo>
                  <a:cubicBezTo>
                    <a:pt x="1791" y="697"/>
                    <a:pt x="1791" y="697"/>
                    <a:pt x="1791" y="697"/>
                  </a:cubicBezTo>
                  <a:cubicBezTo>
                    <a:pt x="1791" y="684"/>
                    <a:pt x="1791" y="684"/>
                    <a:pt x="1791" y="684"/>
                  </a:cubicBezTo>
                  <a:cubicBezTo>
                    <a:pt x="1828" y="684"/>
                    <a:pt x="1828" y="684"/>
                    <a:pt x="1828" y="684"/>
                  </a:cubicBezTo>
                  <a:cubicBezTo>
                    <a:pt x="1831" y="682"/>
                    <a:pt x="1831" y="682"/>
                    <a:pt x="1831" y="682"/>
                  </a:cubicBezTo>
                  <a:cubicBezTo>
                    <a:pt x="1867" y="663"/>
                    <a:pt x="1894" y="621"/>
                    <a:pt x="1906" y="559"/>
                  </a:cubicBezTo>
                  <a:cubicBezTo>
                    <a:pt x="1907" y="553"/>
                    <a:pt x="1907" y="553"/>
                    <a:pt x="1907" y="553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888" y="534"/>
                    <a:pt x="1879" y="515"/>
                    <a:pt x="1877" y="495"/>
                  </a:cubicBezTo>
                  <a:cubicBezTo>
                    <a:pt x="1875" y="484"/>
                    <a:pt x="1875" y="484"/>
                    <a:pt x="1875" y="484"/>
                  </a:cubicBezTo>
                  <a:cubicBezTo>
                    <a:pt x="1868" y="484"/>
                    <a:pt x="1868" y="484"/>
                    <a:pt x="1868" y="484"/>
                  </a:cubicBezTo>
                  <a:cubicBezTo>
                    <a:pt x="1868" y="466"/>
                    <a:pt x="1868" y="466"/>
                    <a:pt x="1868" y="466"/>
                  </a:cubicBezTo>
                  <a:cubicBezTo>
                    <a:pt x="1876" y="466"/>
                    <a:pt x="1876" y="466"/>
                    <a:pt x="1876" y="466"/>
                  </a:cubicBezTo>
                  <a:cubicBezTo>
                    <a:pt x="1876" y="300"/>
                    <a:pt x="1876" y="300"/>
                    <a:pt x="1876" y="300"/>
                  </a:cubicBezTo>
                  <a:cubicBezTo>
                    <a:pt x="1876" y="255"/>
                    <a:pt x="1910" y="215"/>
                    <a:pt x="1955" y="209"/>
                  </a:cubicBezTo>
                  <a:cubicBezTo>
                    <a:pt x="1965" y="207"/>
                    <a:pt x="1965" y="207"/>
                    <a:pt x="1965" y="207"/>
                  </a:cubicBezTo>
                  <a:cubicBezTo>
                    <a:pt x="1965" y="191"/>
                    <a:pt x="1965" y="191"/>
                    <a:pt x="1965" y="191"/>
                  </a:cubicBezTo>
                  <a:cubicBezTo>
                    <a:pt x="1974" y="191"/>
                    <a:pt x="1974" y="191"/>
                    <a:pt x="1974" y="191"/>
                  </a:cubicBezTo>
                  <a:cubicBezTo>
                    <a:pt x="1974" y="207"/>
                    <a:pt x="1974" y="207"/>
                    <a:pt x="1974" y="207"/>
                  </a:cubicBezTo>
                  <a:cubicBezTo>
                    <a:pt x="1984" y="209"/>
                    <a:pt x="1984" y="209"/>
                    <a:pt x="1984" y="209"/>
                  </a:cubicBezTo>
                  <a:cubicBezTo>
                    <a:pt x="2029" y="217"/>
                    <a:pt x="2061" y="255"/>
                    <a:pt x="2061" y="300"/>
                  </a:cubicBezTo>
                  <a:cubicBezTo>
                    <a:pt x="2061" y="466"/>
                    <a:pt x="2061" y="466"/>
                    <a:pt x="2061" y="466"/>
                  </a:cubicBezTo>
                  <a:cubicBezTo>
                    <a:pt x="2071" y="466"/>
                    <a:pt x="2071" y="466"/>
                    <a:pt x="2071" y="466"/>
                  </a:cubicBezTo>
                  <a:cubicBezTo>
                    <a:pt x="2071" y="484"/>
                    <a:pt x="2071" y="484"/>
                    <a:pt x="2071" y="484"/>
                  </a:cubicBezTo>
                  <a:cubicBezTo>
                    <a:pt x="2061" y="484"/>
                    <a:pt x="2061" y="484"/>
                    <a:pt x="2061" y="484"/>
                  </a:cubicBezTo>
                  <a:cubicBezTo>
                    <a:pt x="2060" y="495"/>
                    <a:pt x="2060" y="495"/>
                    <a:pt x="2060" y="495"/>
                  </a:cubicBezTo>
                  <a:cubicBezTo>
                    <a:pt x="2058" y="513"/>
                    <a:pt x="2050" y="530"/>
                    <a:pt x="2038" y="544"/>
                  </a:cubicBezTo>
                  <a:cubicBezTo>
                    <a:pt x="2034" y="548"/>
                    <a:pt x="2034" y="548"/>
                    <a:pt x="2034" y="548"/>
                  </a:cubicBezTo>
                  <a:cubicBezTo>
                    <a:pt x="2035" y="554"/>
                    <a:pt x="2035" y="554"/>
                    <a:pt x="2035" y="554"/>
                  </a:cubicBezTo>
                  <a:cubicBezTo>
                    <a:pt x="2047" y="619"/>
                    <a:pt x="2074" y="663"/>
                    <a:pt x="2112" y="682"/>
                  </a:cubicBezTo>
                  <a:cubicBezTo>
                    <a:pt x="2114" y="684"/>
                    <a:pt x="2114" y="684"/>
                    <a:pt x="2114" y="684"/>
                  </a:cubicBezTo>
                  <a:cubicBezTo>
                    <a:pt x="2166" y="684"/>
                    <a:pt x="2166" y="684"/>
                    <a:pt x="2166" y="684"/>
                  </a:cubicBezTo>
                  <a:cubicBezTo>
                    <a:pt x="2166" y="624"/>
                    <a:pt x="2166" y="624"/>
                    <a:pt x="2166" y="624"/>
                  </a:cubicBezTo>
                  <a:cubicBezTo>
                    <a:pt x="2220" y="624"/>
                    <a:pt x="2220" y="624"/>
                    <a:pt x="2220" y="624"/>
                  </a:cubicBezTo>
                  <a:cubicBezTo>
                    <a:pt x="2220" y="490"/>
                    <a:pt x="2220" y="490"/>
                    <a:pt x="2220" y="490"/>
                  </a:cubicBezTo>
                  <a:cubicBezTo>
                    <a:pt x="2220" y="470"/>
                    <a:pt x="2235" y="453"/>
                    <a:pt x="2255" y="451"/>
                  </a:cubicBezTo>
                  <a:cubicBezTo>
                    <a:pt x="2259" y="451"/>
                    <a:pt x="2259" y="451"/>
                    <a:pt x="2259" y="451"/>
                  </a:cubicBezTo>
                  <a:cubicBezTo>
                    <a:pt x="2263" y="451"/>
                    <a:pt x="2263" y="451"/>
                    <a:pt x="2263" y="451"/>
                  </a:cubicBezTo>
                  <a:cubicBezTo>
                    <a:pt x="2284" y="453"/>
                    <a:pt x="2300" y="470"/>
                    <a:pt x="2300" y="490"/>
                  </a:cubicBezTo>
                  <a:cubicBezTo>
                    <a:pt x="2300" y="624"/>
                    <a:pt x="2300" y="624"/>
                    <a:pt x="2300" y="624"/>
                  </a:cubicBezTo>
                  <a:cubicBezTo>
                    <a:pt x="2393" y="624"/>
                    <a:pt x="2393" y="624"/>
                    <a:pt x="2393" y="624"/>
                  </a:cubicBezTo>
                  <a:cubicBezTo>
                    <a:pt x="2393" y="490"/>
                    <a:pt x="2393" y="490"/>
                    <a:pt x="2393" y="490"/>
                  </a:cubicBezTo>
                  <a:cubicBezTo>
                    <a:pt x="2393" y="470"/>
                    <a:pt x="2408" y="453"/>
                    <a:pt x="2428" y="451"/>
                  </a:cubicBezTo>
                  <a:cubicBezTo>
                    <a:pt x="2432" y="450"/>
                    <a:pt x="2432" y="450"/>
                    <a:pt x="2432" y="450"/>
                  </a:cubicBezTo>
                  <a:cubicBezTo>
                    <a:pt x="2436" y="451"/>
                    <a:pt x="2436" y="451"/>
                    <a:pt x="2436" y="451"/>
                  </a:cubicBezTo>
                  <a:cubicBezTo>
                    <a:pt x="2457" y="453"/>
                    <a:pt x="2472" y="470"/>
                    <a:pt x="2472" y="490"/>
                  </a:cubicBezTo>
                  <a:cubicBezTo>
                    <a:pt x="2472" y="624"/>
                    <a:pt x="2472" y="624"/>
                    <a:pt x="2472" y="624"/>
                  </a:cubicBezTo>
                  <a:cubicBezTo>
                    <a:pt x="2631" y="624"/>
                    <a:pt x="2631" y="624"/>
                    <a:pt x="2631" y="624"/>
                  </a:cubicBezTo>
                  <a:cubicBezTo>
                    <a:pt x="2631" y="729"/>
                    <a:pt x="2631" y="729"/>
                    <a:pt x="2631" y="729"/>
                  </a:cubicBezTo>
                  <a:cubicBezTo>
                    <a:pt x="2696" y="729"/>
                    <a:pt x="2696" y="729"/>
                    <a:pt x="2696" y="729"/>
                  </a:cubicBezTo>
                  <a:cubicBezTo>
                    <a:pt x="2696" y="837"/>
                    <a:pt x="2696" y="837"/>
                    <a:pt x="2696" y="837"/>
                  </a:cubicBezTo>
                  <a:cubicBezTo>
                    <a:pt x="2745" y="837"/>
                    <a:pt x="2745" y="837"/>
                    <a:pt x="2745" y="837"/>
                  </a:cubicBezTo>
                  <a:cubicBezTo>
                    <a:pt x="2749" y="832"/>
                    <a:pt x="2749" y="832"/>
                    <a:pt x="2749" y="832"/>
                  </a:cubicBezTo>
                  <a:cubicBezTo>
                    <a:pt x="2779" y="793"/>
                    <a:pt x="2852" y="678"/>
                    <a:pt x="2872" y="443"/>
                  </a:cubicBezTo>
                  <a:cubicBezTo>
                    <a:pt x="2872" y="440"/>
                    <a:pt x="2872" y="436"/>
                    <a:pt x="2873" y="432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0"/>
                    <a:pt x="2874" y="410"/>
                    <a:pt x="2874" y="410"/>
                  </a:cubicBezTo>
                  <a:cubicBezTo>
                    <a:pt x="2874" y="405"/>
                    <a:pt x="2875" y="400"/>
                    <a:pt x="2875" y="395"/>
                  </a:cubicBezTo>
                  <a:cubicBezTo>
                    <a:pt x="2877" y="350"/>
                    <a:pt x="2877" y="350"/>
                    <a:pt x="2877" y="350"/>
                  </a:cubicBezTo>
                  <a:cubicBezTo>
                    <a:pt x="2865" y="350"/>
                    <a:pt x="2865" y="350"/>
                    <a:pt x="2865" y="350"/>
                  </a:cubicBezTo>
                  <a:cubicBezTo>
                    <a:pt x="2865" y="338"/>
                    <a:pt x="2865" y="338"/>
                    <a:pt x="2865" y="338"/>
                  </a:cubicBezTo>
                  <a:cubicBezTo>
                    <a:pt x="3036" y="338"/>
                    <a:pt x="3036" y="338"/>
                    <a:pt x="3036" y="338"/>
                  </a:cubicBezTo>
                  <a:cubicBezTo>
                    <a:pt x="3036" y="350"/>
                    <a:pt x="3036" y="350"/>
                    <a:pt x="3036" y="350"/>
                  </a:cubicBezTo>
                  <a:cubicBezTo>
                    <a:pt x="3026" y="350"/>
                    <a:pt x="3026" y="350"/>
                    <a:pt x="3026" y="350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94"/>
                    <a:pt x="3027" y="394"/>
                    <a:pt x="3027" y="394"/>
                  </a:cubicBezTo>
                  <a:cubicBezTo>
                    <a:pt x="3027" y="400"/>
                    <a:pt x="3027" y="405"/>
                    <a:pt x="3027" y="410"/>
                  </a:cubicBezTo>
                  <a:cubicBezTo>
                    <a:pt x="3028" y="432"/>
                    <a:pt x="3028" y="432"/>
                    <a:pt x="3028" y="432"/>
                  </a:cubicBezTo>
                  <a:cubicBezTo>
                    <a:pt x="3034" y="543"/>
                    <a:pt x="3053" y="637"/>
                    <a:pt x="3086" y="713"/>
                  </a:cubicBezTo>
                  <a:cubicBezTo>
                    <a:pt x="3113" y="777"/>
                    <a:pt x="3143" y="814"/>
                    <a:pt x="3164" y="834"/>
                  </a:cubicBezTo>
                  <a:cubicBezTo>
                    <a:pt x="3168" y="837"/>
                    <a:pt x="3168" y="837"/>
                    <a:pt x="3168" y="837"/>
                  </a:cubicBezTo>
                  <a:cubicBezTo>
                    <a:pt x="3236" y="837"/>
                    <a:pt x="3236" y="837"/>
                    <a:pt x="3236" y="837"/>
                  </a:cubicBezTo>
                  <a:cubicBezTo>
                    <a:pt x="3237" y="841"/>
                    <a:pt x="3238" y="847"/>
                    <a:pt x="3239" y="856"/>
                  </a:cubicBezTo>
                  <a:cubicBezTo>
                    <a:pt x="3241" y="854"/>
                    <a:pt x="3244" y="851"/>
                    <a:pt x="3246" y="849"/>
                  </a:cubicBezTo>
                  <a:cubicBezTo>
                    <a:pt x="3246" y="849"/>
                    <a:pt x="3246" y="848"/>
                    <a:pt x="3246" y="847"/>
                  </a:cubicBezTo>
                  <a:cubicBezTo>
                    <a:pt x="3243" y="829"/>
                    <a:pt x="3243" y="829"/>
                    <a:pt x="3239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171" y="829"/>
                    <a:pt x="3171" y="829"/>
                    <a:pt x="3171" y="829"/>
                  </a:cubicBezTo>
                  <a:cubicBezTo>
                    <a:pt x="3170" y="828"/>
                    <a:pt x="3170" y="828"/>
                    <a:pt x="3170" y="828"/>
                  </a:cubicBezTo>
                  <a:cubicBezTo>
                    <a:pt x="3149" y="808"/>
                    <a:pt x="3120" y="772"/>
                    <a:pt x="3093" y="710"/>
                  </a:cubicBezTo>
                  <a:cubicBezTo>
                    <a:pt x="3061" y="635"/>
                    <a:pt x="3042" y="541"/>
                    <a:pt x="3036" y="432"/>
                  </a:cubicBezTo>
                  <a:cubicBezTo>
                    <a:pt x="3036" y="425"/>
                    <a:pt x="3036" y="425"/>
                    <a:pt x="3036" y="425"/>
                  </a:cubicBezTo>
                  <a:cubicBezTo>
                    <a:pt x="3040" y="425"/>
                    <a:pt x="3040" y="425"/>
                    <a:pt x="3040" y="425"/>
                  </a:cubicBezTo>
                  <a:cubicBezTo>
                    <a:pt x="3040" y="413"/>
                    <a:pt x="3040" y="413"/>
                    <a:pt x="3040" y="413"/>
                  </a:cubicBezTo>
                  <a:cubicBezTo>
                    <a:pt x="3035" y="413"/>
                    <a:pt x="3035" y="413"/>
                    <a:pt x="3035" y="413"/>
                  </a:cubicBezTo>
                  <a:cubicBezTo>
                    <a:pt x="3035" y="410"/>
                    <a:pt x="3035" y="410"/>
                    <a:pt x="3035" y="410"/>
                  </a:cubicBezTo>
                  <a:cubicBezTo>
                    <a:pt x="3035" y="405"/>
                    <a:pt x="3035" y="400"/>
                    <a:pt x="3035" y="394"/>
                  </a:cubicBezTo>
                  <a:cubicBezTo>
                    <a:pt x="3035" y="390"/>
                    <a:pt x="3035" y="390"/>
                    <a:pt x="3035" y="390"/>
                  </a:cubicBezTo>
                  <a:cubicBezTo>
                    <a:pt x="3040" y="390"/>
                    <a:pt x="3040" y="390"/>
                    <a:pt x="3040" y="390"/>
                  </a:cubicBezTo>
                  <a:cubicBezTo>
                    <a:pt x="3040" y="378"/>
                    <a:pt x="3040" y="378"/>
                    <a:pt x="3040" y="378"/>
                  </a:cubicBezTo>
                  <a:cubicBezTo>
                    <a:pt x="3035" y="378"/>
                    <a:pt x="3035" y="378"/>
                    <a:pt x="3035" y="378"/>
                  </a:cubicBezTo>
                  <a:cubicBezTo>
                    <a:pt x="3034" y="358"/>
                    <a:pt x="3034" y="358"/>
                    <a:pt x="3034" y="358"/>
                  </a:cubicBezTo>
                  <a:cubicBezTo>
                    <a:pt x="3044" y="358"/>
                    <a:pt x="3044" y="358"/>
                    <a:pt x="3044" y="358"/>
                  </a:cubicBezTo>
                  <a:cubicBezTo>
                    <a:pt x="3044" y="330"/>
                    <a:pt x="3044" y="330"/>
                    <a:pt x="3044" y="330"/>
                  </a:cubicBezTo>
                  <a:cubicBezTo>
                    <a:pt x="2857" y="330"/>
                    <a:pt x="2857" y="330"/>
                    <a:pt x="2857" y="330"/>
                  </a:cubicBezTo>
                  <a:cubicBezTo>
                    <a:pt x="2857" y="358"/>
                    <a:pt x="2857" y="358"/>
                    <a:pt x="2857" y="358"/>
                  </a:cubicBezTo>
                  <a:cubicBezTo>
                    <a:pt x="2868" y="358"/>
                    <a:pt x="2868" y="358"/>
                    <a:pt x="2868" y="358"/>
                  </a:cubicBezTo>
                  <a:cubicBezTo>
                    <a:pt x="2868" y="378"/>
                    <a:pt x="2868" y="378"/>
                    <a:pt x="2868" y="378"/>
                  </a:cubicBezTo>
                  <a:cubicBezTo>
                    <a:pt x="2862" y="378"/>
                    <a:pt x="2862" y="378"/>
                    <a:pt x="2862" y="378"/>
                  </a:cubicBezTo>
                  <a:cubicBezTo>
                    <a:pt x="2862" y="390"/>
                    <a:pt x="2862" y="390"/>
                    <a:pt x="2862" y="390"/>
                  </a:cubicBezTo>
                  <a:cubicBezTo>
                    <a:pt x="2867" y="390"/>
                    <a:pt x="2867" y="390"/>
                    <a:pt x="2867" y="390"/>
                  </a:cubicBezTo>
                  <a:cubicBezTo>
                    <a:pt x="2867" y="394"/>
                    <a:pt x="2867" y="394"/>
                    <a:pt x="2867" y="394"/>
                  </a:cubicBezTo>
                  <a:cubicBezTo>
                    <a:pt x="2867" y="400"/>
                    <a:pt x="2866" y="405"/>
                    <a:pt x="2866" y="410"/>
                  </a:cubicBezTo>
                  <a:cubicBezTo>
                    <a:pt x="2866" y="413"/>
                    <a:pt x="2866" y="413"/>
                    <a:pt x="2866" y="413"/>
                  </a:cubicBezTo>
                  <a:cubicBezTo>
                    <a:pt x="2862" y="413"/>
                    <a:pt x="2862" y="413"/>
                    <a:pt x="2862" y="413"/>
                  </a:cubicBezTo>
                  <a:cubicBezTo>
                    <a:pt x="2862" y="425"/>
                    <a:pt x="2862" y="425"/>
                    <a:pt x="2862" y="425"/>
                  </a:cubicBezTo>
                  <a:cubicBezTo>
                    <a:pt x="2865" y="425"/>
                    <a:pt x="2865" y="425"/>
                    <a:pt x="2865" y="425"/>
                  </a:cubicBezTo>
                  <a:cubicBezTo>
                    <a:pt x="2865" y="432"/>
                    <a:pt x="2865" y="432"/>
                    <a:pt x="2865" y="432"/>
                  </a:cubicBezTo>
                  <a:cubicBezTo>
                    <a:pt x="2864" y="435"/>
                    <a:pt x="2864" y="439"/>
                    <a:pt x="2864" y="442"/>
                  </a:cubicBezTo>
                  <a:cubicBezTo>
                    <a:pt x="2844" y="675"/>
                    <a:pt x="2772" y="789"/>
                    <a:pt x="2743" y="827"/>
                  </a:cubicBezTo>
                  <a:cubicBezTo>
                    <a:pt x="2741" y="829"/>
                    <a:pt x="2741" y="829"/>
                    <a:pt x="2741" y="829"/>
                  </a:cubicBezTo>
                  <a:cubicBezTo>
                    <a:pt x="2704" y="829"/>
                    <a:pt x="2704" y="829"/>
                    <a:pt x="2704" y="829"/>
                  </a:cubicBezTo>
                  <a:cubicBezTo>
                    <a:pt x="2704" y="721"/>
                    <a:pt x="2704" y="721"/>
                    <a:pt x="2704" y="721"/>
                  </a:cubicBezTo>
                  <a:cubicBezTo>
                    <a:pt x="2639" y="721"/>
                    <a:pt x="2639" y="721"/>
                    <a:pt x="2639" y="721"/>
                  </a:cubicBezTo>
                  <a:cubicBezTo>
                    <a:pt x="2639" y="616"/>
                    <a:pt x="2639" y="616"/>
                    <a:pt x="2639" y="616"/>
                  </a:cubicBezTo>
                  <a:cubicBezTo>
                    <a:pt x="2480" y="616"/>
                    <a:pt x="2480" y="616"/>
                    <a:pt x="2480" y="616"/>
                  </a:cubicBezTo>
                  <a:cubicBezTo>
                    <a:pt x="2480" y="490"/>
                    <a:pt x="2480" y="490"/>
                    <a:pt x="2480" y="490"/>
                  </a:cubicBezTo>
                  <a:cubicBezTo>
                    <a:pt x="2480" y="466"/>
                    <a:pt x="2461" y="445"/>
                    <a:pt x="2437" y="443"/>
                  </a:cubicBezTo>
                  <a:cubicBezTo>
                    <a:pt x="2432" y="442"/>
                    <a:pt x="2432" y="442"/>
                    <a:pt x="2432" y="442"/>
                  </a:cubicBezTo>
                  <a:cubicBezTo>
                    <a:pt x="2427" y="443"/>
                    <a:pt x="2427" y="443"/>
                    <a:pt x="2427" y="443"/>
                  </a:cubicBezTo>
                  <a:cubicBezTo>
                    <a:pt x="2403" y="446"/>
                    <a:pt x="2385" y="466"/>
                    <a:pt x="2385" y="490"/>
                  </a:cubicBezTo>
                  <a:cubicBezTo>
                    <a:pt x="2385" y="616"/>
                    <a:pt x="2385" y="616"/>
                    <a:pt x="2385" y="616"/>
                  </a:cubicBezTo>
                  <a:cubicBezTo>
                    <a:pt x="2308" y="616"/>
                    <a:pt x="2308" y="616"/>
                    <a:pt x="2308" y="616"/>
                  </a:cubicBezTo>
                  <a:cubicBezTo>
                    <a:pt x="2308" y="490"/>
                    <a:pt x="2308" y="490"/>
                    <a:pt x="2308" y="490"/>
                  </a:cubicBezTo>
                  <a:cubicBezTo>
                    <a:pt x="2308" y="466"/>
                    <a:pt x="2289" y="445"/>
                    <a:pt x="2264" y="443"/>
                  </a:cubicBezTo>
                  <a:cubicBezTo>
                    <a:pt x="2259" y="442"/>
                    <a:pt x="2259" y="442"/>
                    <a:pt x="2259" y="442"/>
                  </a:cubicBezTo>
                  <a:cubicBezTo>
                    <a:pt x="2254" y="443"/>
                    <a:pt x="2254" y="443"/>
                    <a:pt x="2254" y="443"/>
                  </a:cubicBezTo>
                  <a:cubicBezTo>
                    <a:pt x="2230" y="446"/>
                    <a:pt x="2212" y="466"/>
                    <a:pt x="2212" y="490"/>
                  </a:cubicBezTo>
                  <a:cubicBezTo>
                    <a:pt x="2212" y="616"/>
                    <a:pt x="2212" y="616"/>
                    <a:pt x="2212" y="616"/>
                  </a:cubicBezTo>
                  <a:cubicBezTo>
                    <a:pt x="2158" y="616"/>
                    <a:pt x="2158" y="616"/>
                    <a:pt x="2158" y="616"/>
                  </a:cubicBezTo>
                  <a:cubicBezTo>
                    <a:pt x="2158" y="676"/>
                    <a:pt x="2158" y="676"/>
                    <a:pt x="2158" y="676"/>
                  </a:cubicBezTo>
                  <a:cubicBezTo>
                    <a:pt x="2116" y="676"/>
                    <a:pt x="2116" y="676"/>
                    <a:pt x="2116" y="676"/>
                  </a:cubicBezTo>
                  <a:cubicBezTo>
                    <a:pt x="2115" y="675"/>
                    <a:pt x="2115" y="675"/>
                    <a:pt x="2115" y="675"/>
                  </a:cubicBezTo>
                  <a:cubicBezTo>
                    <a:pt x="2080" y="657"/>
                    <a:pt x="2055" y="615"/>
                    <a:pt x="2043" y="552"/>
                  </a:cubicBezTo>
                  <a:cubicBezTo>
                    <a:pt x="2043" y="551"/>
                    <a:pt x="2043" y="551"/>
                    <a:pt x="2043" y="551"/>
                  </a:cubicBezTo>
                  <a:cubicBezTo>
                    <a:pt x="2044" y="549"/>
                    <a:pt x="2044" y="549"/>
                    <a:pt x="2044" y="549"/>
                  </a:cubicBezTo>
                  <a:cubicBezTo>
                    <a:pt x="2057" y="534"/>
                    <a:pt x="2065" y="515"/>
                    <a:pt x="2068" y="496"/>
                  </a:cubicBezTo>
                  <a:cubicBezTo>
                    <a:pt x="2068" y="492"/>
                    <a:pt x="2068" y="492"/>
                    <a:pt x="2068" y="492"/>
                  </a:cubicBezTo>
                  <a:cubicBezTo>
                    <a:pt x="2079" y="492"/>
                    <a:pt x="2079" y="492"/>
                    <a:pt x="2079" y="492"/>
                  </a:cubicBezTo>
                  <a:cubicBezTo>
                    <a:pt x="2079" y="458"/>
                    <a:pt x="2079" y="458"/>
                    <a:pt x="2079" y="458"/>
                  </a:cubicBezTo>
                  <a:cubicBezTo>
                    <a:pt x="2069" y="458"/>
                    <a:pt x="2069" y="458"/>
                    <a:pt x="2069" y="458"/>
                  </a:cubicBezTo>
                  <a:cubicBezTo>
                    <a:pt x="2069" y="372"/>
                    <a:pt x="2069" y="372"/>
                    <a:pt x="2069" y="372"/>
                  </a:cubicBezTo>
                  <a:cubicBezTo>
                    <a:pt x="2072" y="372"/>
                    <a:pt x="2072" y="372"/>
                    <a:pt x="2072" y="372"/>
                  </a:cubicBezTo>
                  <a:cubicBezTo>
                    <a:pt x="2072" y="361"/>
                    <a:pt x="2072" y="361"/>
                    <a:pt x="2072" y="361"/>
                  </a:cubicBezTo>
                  <a:cubicBezTo>
                    <a:pt x="2069" y="361"/>
                    <a:pt x="2069" y="361"/>
                    <a:pt x="2069" y="361"/>
                  </a:cubicBezTo>
                  <a:cubicBezTo>
                    <a:pt x="2069" y="300"/>
                    <a:pt x="2069" y="300"/>
                    <a:pt x="2069" y="300"/>
                  </a:cubicBezTo>
                  <a:cubicBezTo>
                    <a:pt x="2069" y="251"/>
                    <a:pt x="2034" y="210"/>
                    <a:pt x="1986" y="201"/>
                  </a:cubicBezTo>
                  <a:cubicBezTo>
                    <a:pt x="1982" y="201"/>
                    <a:pt x="1982" y="201"/>
                    <a:pt x="1982" y="201"/>
                  </a:cubicBezTo>
                  <a:cubicBezTo>
                    <a:pt x="1982" y="183"/>
                    <a:pt x="1982" y="183"/>
                    <a:pt x="1982" y="183"/>
                  </a:cubicBezTo>
                  <a:cubicBezTo>
                    <a:pt x="1957" y="183"/>
                    <a:pt x="1957" y="183"/>
                    <a:pt x="1957" y="183"/>
                  </a:cubicBezTo>
                  <a:cubicBezTo>
                    <a:pt x="1957" y="200"/>
                    <a:pt x="1957" y="200"/>
                    <a:pt x="1957" y="200"/>
                  </a:cubicBezTo>
                  <a:cubicBezTo>
                    <a:pt x="1954" y="201"/>
                    <a:pt x="1954" y="201"/>
                    <a:pt x="1954" y="201"/>
                  </a:cubicBezTo>
                  <a:cubicBezTo>
                    <a:pt x="1905" y="208"/>
                    <a:pt x="1868" y="251"/>
                    <a:pt x="1868" y="300"/>
                  </a:cubicBezTo>
                  <a:cubicBezTo>
                    <a:pt x="1868" y="361"/>
                    <a:pt x="1868" y="361"/>
                    <a:pt x="1868" y="361"/>
                  </a:cubicBezTo>
                  <a:cubicBezTo>
                    <a:pt x="1866" y="361"/>
                    <a:pt x="1866" y="361"/>
                    <a:pt x="1866" y="361"/>
                  </a:cubicBezTo>
                  <a:cubicBezTo>
                    <a:pt x="1866" y="372"/>
                    <a:pt x="1866" y="372"/>
                    <a:pt x="1866" y="372"/>
                  </a:cubicBezTo>
                  <a:cubicBezTo>
                    <a:pt x="1868" y="372"/>
                    <a:pt x="1868" y="372"/>
                    <a:pt x="1868" y="372"/>
                  </a:cubicBezTo>
                  <a:cubicBezTo>
                    <a:pt x="1868" y="458"/>
                    <a:pt x="1868" y="458"/>
                    <a:pt x="1868" y="458"/>
                  </a:cubicBezTo>
                  <a:cubicBezTo>
                    <a:pt x="1860" y="458"/>
                    <a:pt x="1860" y="458"/>
                    <a:pt x="1860" y="458"/>
                  </a:cubicBezTo>
                  <a:cubicBezTo>
                    <a:pt x="1860" y="492"/>
                    <a:pt x="1860" y="492"/>
                    <a:pt x="1860" y="492"/>
                  </a:cubicBezTo>
                  <a:cubicBezTo>
                    <a:pt x="1868" y="492"/>
                    <a:pt x="1868" y="492"/>
                    <a:pt x="1868" y="492"/>
                  </a:cubicBezTo>
                  <a:cubicBezTo>
                    <a:pt x="1869" y="496"/>
                    <a:pt x="1869" y="496"/>
                    <a:pt x="1869" y="496"/>
                  </a:cubicBezTo>
                  <a:cubicBezTo>
                    <a:pt x="1871" y="518"/>
                    <a:pt x="1881" y="538"/>
                    <a:pt x="1897" y="554"/>
                  </a:cubicBezTo>
                  <a:cubicBezTo>
                    <a:pt x="1898" y="556"/>
                    <a:pt x="1898" y="556"/>
                    <a:pt x="1898" y="556"/>
                  </a:cubicBezTo>
                  <a:cubicBezTo>
                    <a:pt x="1898" y="558"/>
                    <a:pt x="1898" y="558"/>
                    <a:pt x="1898" y="558"/>
                  </a:cubicBezTo>
                  <a:cubicBezTo>
                    <a:pt x="1886" y="617"/>
                    <a:pt x="1862" y="657"/>
                    <a:pt x="1827" y="675"/>
                  </a:cubicBezTo>
                  <a:cubicBezTo>
                    <a:pt x="1826" y="676"/>
                    <a:pt x="1826" y="676"/>
                    <a:pt x="1826" y="676"/>
                  </a:cubicBezTo>
                  <a:cubicBezTo>
                    <a:pt x="1783" y="676"/>
                    <a:pt x="1783" y="676"/>
                    <a:pt x="1783" y="676"/>
                  </a:cubicBezTo>
                  <a:cubicBezTo>
                    <a:pt x="1783" y="689"/>
                    <a:pt x="1783" y="689"/>
                    <a:pt x="1783" y="689"/>
                  </a:cubicBezTo>
                  <a:cubicBezTo>
                    <a:pt x="1694" y="689"/>
                    <a:pt x="1694" y="689"/>
                    <a:pt x="1694" y="689"/>
                  </a:cubicBezTo>
                  <a:cubicBezTo>
                    <a:pt x="1694" y="565"/>
                    <a:pt x="1694" y="565"/>
                    <a:pt x="1694" y="565"/>
                  </a:cubicBezTo>
                  <a:cubicBezTo>
                    <a:pt x="1603" y="565"/>
                    <a:pt x="1603" y="565"/>
                    <a:pt x="1603" y="565"/>
                  </a:cubicBezTo>
                  <a:cubicBezTo>
                    <a:pt x="1592" y="433"/>
                    <a:pt x="1592" y="433"/>
                    <a:pt x="1592" y="433"/>
                  </a:cubicBezTo>
                  <a:cubicBezTo>
                    <a:pt x="1574" y="433"/>
                    <a:pt x="1574" y="433"/>
                    <a:pt x="1574" y="433"/>
                  </a:cubicBezTo>
                  <a:cubicBezTo>
                    <a:pt x="1568" y="19"/>
                    <a:pt x="1568" y="19"/>
                    <a:pt x="1568" y="19"/>
                  </a:cubicBezTo>
                  <a:cubicBezTo>
                    <a:pt x="1570" y="18"/>
                    <a:pt x="1570" y="18"/>
                    <a:pt x="1570" y="18"/>
                  </a:cubicBezTo>
                  <a:cubicBezTo>
                    <a:pt x="1574" y="17"/>
                    <a:pt x="1576" y="13"/>
                    <a:pt x="1576" y="10"/>
                  </a:cubicBezTo>
                  <a:cubicBezTo>
                    <a:pt x="1576" y="4"/>
                    <a:pt x="1572" y="0"/>
                    <a:pt x="1566" y="0"/>
                  </a:cubicBezTo>
                  <a:cubicBezTo>
                    <a:pt x="1518" y="0"/>
                    <a:pt x="1518" y="0"/>
                    <a:pt x="1518" y="0"/>
                  </a:cubicBezTo>
                  <a:cubicBezTo>
                    <a:pt x="1512" y="0"/>
                    <a:pt x="1508" y="4"/>
                    <a:pt x="1508" y="10"/>
                  </a:cubicBezTo>
                  <a:cubicBezTo>
                    <a:pt x="1508" y="14"/>
                    <a:pt x="1511" y="17"/>
                    <a:pt x="1515" y="19"/>
                  </a:cubicBezTo>
                  <a:cubicBezTo>
                    <a:pt x="1518" y="20"/>
                    <a:pt x="1518" y="20"/>
                    <a:pt x="1518" y="20"/>
                  </a:cubicBezTo>
                  <a:cubicBezTo>
                    <a:pt x="1510" y="433"/>
                    <a:pt x="1510" y="433"/>
                    <a:pt x="1510" y="433"/>
                  </a:cubicBezTo>
                  <a:cubicBezTo>
                    <a:pt x="1497" y="433"/>
                    <a:pt x="1497" y="433"/>
                    <a:pt x="1497" y="433"/>
                  </a:cubicBezTo>
                  <a:cubicBezTo>
                    <a:pt x="1484" y="565"/>
                    <a:pt x="1484" y="565"/>
                    <a:pt x="1484" y="565"/>
                  </a:cubicBezTo>
                  <a:cubicBezTo>
                    <a:pt x="1396" y="565"/>
                    <a:pt x="1396" y="565"/>
                    <a:pt x="1396" y="565"/>
                  </a:cubicBezTo>
                  <a:cubicBezTo>
                    <a:pt x="1386" y="433"/>
                    <a:pt x="1386" y="433"/>
                    <a:pt x="1386" y="433"/>
                  </a:cubicBezTo>
                  <a:cubicBezTo>
                    <a:pt x="1367" y="433"/>
                    <a:pt x="1367" y="433"/>
                    <a:pt x="1367" y="433"/>
                  </a:cubicBezTo>
                  <a:cubicBezTo>
                    <a:pt x="1362" y="116"/>
                    <a:pt x="1362" y="116"/>
                    <a:pt x="1362" y="116"/>
                  </a:cubicBezTo>
                  <a:cubicBezTo>
                    <a:pt x="1363" y="115"/>
                    <a:pt x="1363" y="115"/>
                    <a:pt x="1363" y="115"/>
                  </a:cubicBezTo>
                  <a:cubicBezTo>
                    <a:pt x="1366" y="113"/>
                    <a:pt x="1368" y="110"/>
                    <a:pt x="1368" y="107"/>
                  </a:cubicBezTo>
                  <a:cubicBezTo>
                    <a:pt x="1368" y="101"/>
                    <a:pt x="1363" y="97"/>
                    <a:pt x="1358" y="97"/>
                  </a:cubicBezTo>
                  <a:cubicBezTo>
                    <a:pt x="1309" y="97"/>
                    <a:pt x="1309" y="97"/>
                    <a:pt x="1309" y="97"/>
                  </a:cubicBezTo>
                  <a:cubicBezTo>
                    <a:pt x="1304" y="97"/>
                    <a:pt x="1300" y="101"/>
                    <a:pt x="1300" y="107"/>
                  </a:cubicBezTo>
                  <a:cubicBezTo>
                    <a:pt x="1300" y="111"/>
                    <a:pt x="1303" y="115"/>
                    <a:pt x="1308" y="116"/>
                  </a:cubicBezTo>
                  <a:cubicBezTo>
                    <a:pt x="1311" y="117"/>
                    <a:pt x="1311" y="117"/>
                    <a:pt x="1311" y="117"/>
                  </a:cubicBezTo>
                  <a:cubicBezTo>
                    <a:pt x="1304" y="433"/>
                    <a:pt x="1304" y="433"/>
                    <a:pt x="1304" y="433"/>
                  </a:cubicBezTo>
                  <a:cubicBezTo>
                    <a:pt x="1291" y="433"/>
                    <a:pt x="1291" y="433"/>
                    <a:pt x="1291" y="433"/>
                  </a:cubicBezTo>
                  <a:cubicBezTo>
                    <a:pt x="1277" y="565"/>
                    <a:pt x="1277" y="565"/>
                    <a:pt x="1277" y="565"/>
                  </a:cubicBezTo>
                  <a:cubicBezTo>
                    <a:pt x="1197" y="565"/>
                    <a:pt x="1197" y="565"/>
                    <a:pt x="1197" y="565"/>
                  </a:cubicBezTo>
                  <a:cubicBezTo>
                    <a:pt x="1187" y="433"/>
                    <a:pt x="1187" y="433"/>
                    <a:pt x="1187" y="433"/>
                  </a:cubicBezTo>
                  <a:cubicBezTo>
                    <a:pt x="1171" y="433"/>
                    <a:pt x="1171" y="433"/>
                    <a:pt x="1171" y="433"/>
                  </a:cubicBezTo>
                  <a:cubicBezTo>
                    <a:pt x="1167" y="228"/>
                    <a:pt x="1167" y="228"/>
                    <a:pt x="1167" y="228"/>
                  </a:cubicBezTo>
                  <a:cubicBezTo>
                    <a:pt x="1169" y="227"/>
                    <a:pt x="1169" y="227"/>
                    <a:pt x="1169" y="227"/>
                  </a:cubicBezTo>
                  <a:cubicBezTo>
                    <a:pt x="1173" y="225"/>
                    <a:pt x="1175" y="222"/>
                    <a:pt x="1175" y="218"/>
                  </a:cubicBezTo>
                  <a:cubicBezTo>
                    <a:pt x="1175" y="213"/>
                    <a:pt x="1170" y="208"/>
                    <a:pt x="1165" y="208"/>
                  </a:cubicBezTo>
                  <a:cubicBezTo>
                    <a:pt x="1116" y="208"/>
                    <a:pt x="1116" y="208"/>
                    <a:pt x="1116" y="208"/>
                  </a:cubicBezTo>
                  <a:cubicBezTo>
                    <a:pt x="1111" y="208"/>
                    <a:pt x="1107" y="213"/>
                    <a:pt x="1107" y="218"/>
                  </a:cubicBezTo>
                  <a:cubicBezTo>
                    <a:pt x="1107" y="222"/>
                    <a:pt x="1109" y="226"/>
                    <a:pt x="1114" y="227"/>
                  </a:cubicBezTo>
                  <a:cubicBezTo>
                    <a:pt x="1117" y="228"/>
                    <a:pt x="1117" y="228"/>
                    <a:pt x="1117" y="228"/>
                  </a:cubicBezTo>
                  <a:cubicBezTo>
                    <a:pt x="1111" y="433"/>
                    <a:pt x="1111" y="433"/>
                    <a:pt x="1111" y="433"/>
                  </a:cubicBezTo>
                  <a:cubicBezTo>
                    <a:pt x="1092" y="433"/>
                    <a:pt x="1092" y="433"/>
                    <a:pt x="1092" y="433"/>
                  </a:cubicBezTo>
                  <a:cubicBezTo>
                    <a:pt x="1078" y="565"/>
                    <a:pt x="1078" y="565"/>
                    <a:pt x="1078" y="565"/>
                  </a:cubicBezTo>
                  <a:cubicBezTo>
                    <a:pt x="973" y="565"/>
                    <a:pt x="973" y="565"/>
                    <a:pt x="973" y="565"/>
                  </a:cubicBezTo>
                  <a:cubicBezTo>
                    <a:pt x="973" y="689"/>
                    <a:pt x="973" y="689"/>
                    <a:pt x="973" y="689"/>
                  </a:cubicBezTo>
                  <a:cubicBezTo>
                    <a:pt x="867" y="684"/>
                    <a:pt x="867" y="684"/>
                    <a:pt x="867" y="684"/>
                  </a:cubicBezTo>
                  <a:cubicBezTo>
                    <a:pt x="867" y="463"/>
                    <a:pt x="867" y="463"/>
                    <a:pt x="867" y="463"/>
                  </a:cubicBezTo>
                  <a:cubicBezTo>
                    <a:pt x="677" y="520"/>
                    <a:pt x="677" y="520"/>
                    <a:pt x="677" y="520"/>
                  </a:cubicBezTo>
                  <a:cubicBezTo>
                    <a:pt x="677" y="463"/>
                    <a:pt x="677" y="463"/>
                    <a:pt x="677" y="463"/>
                  </a:cubicBezTo>
                  <a:cubicBezTo>
                    <a:pt x="486" y="520"/>
                    <a:pt x="486" y="520"/>
                    <a:pt x="486" y="520"/>
                  </a:cubicBezTo>
                  <a:cubicBezTo>
                    <a:pt x="486" y="463"/>
                    <a:pt x="486" y="463"/>
                    <a:pt x="486" y="463"/>
                  </a:cubicBezTo>
                  <a:cubicBezTo>
                    <a:pt x="294" y="521"/>
                    <a:pt x="294" y="521"/>
                    <a:pt x="294" y="521"/>
                  </a:cubicBezTo>
                  <a:cubicBezTo>
                    <a:pt x="294" y="684"/>
                    <a:pt x="294" y="684"/>
                    <a:pt x="294" y="684"/>
                  </a:cubicBezTo>
                  <a:cubicBezTo>
                    <a:pt x="199" y="684"/>
                    <a:pt x="199" y="684"/>
                    <a:pt x="199" y="68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93" y="251"/>
                    <a:pt x="200" y="245"/>
                    <a:pt x="200" y="236"/>
                  </a:cubicBezTo>
                  <a:cubicBezTo>
                    <a:pt x="200" y="228"/>
                    <a:pt x="193" y="221"/>
                    <a:pt x="184" y="221"/>
                  </a:cubicBezTo>
                  <a:cubicBezTo>
                    <a:pt x="80" y="221"/>
                    <a:pt x="80" y="221"/>
                    <a:pt x="80" y="221"/>
                  </a:cubicBezTo>
                  <a:cubicBezTo>
                    <a:pt x="72" y="221"/>
                    <a:pt x="65" y="228"/>
                    <a:pt x="65" y="236"/>
                  </a:cubicBezTo>
                  <a:cubicBezTo>
                    <a:pt x="65" y="244"/>
                    <a:pt x="71" y="251"/>
                    <a:pt x="79" y="252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40" y="721"/>
                    <a:pt x="10" y="718"/>
                    <a:pt x="7" y="716"/>
                  </a:cubicBezTo>
                  <a:cubicBezTo>
                    <a:pt x="8" y="717"/>
                    <a:pt x="9" y="718"/>
                    <a:pt x="9" y="720"/>
                  </a:cubicBezTo>
                  <a:cubicBezTo>
                    <a:pt x="1" y="719"/>
                    <a:pt x="1" y="719"/>
                    <a:pt x="1" y="719"/>
                  </a:cubicBezTo>
                  <a:cubicBezTo>
                    <a:pt x="1" y="722"/>
                    <a:pt x="1" y="722"/>
                    <a:pt x="1" y="722"/>
                  </a:cubicBezTo>
                  <a:cubicBezTo>
                    <a:pt x="0" y="771"/>
                    <a:pt x="0" y="771"/>
                    <a:pt x="0" y="771"/>
                  </a:cubicBezTo>
                  <a:cubicBezTo>
                    <a:pt x="3" y="772"/>
                    <a:pt x="6" y="774"/>
                    <a:pt x="8" y="776"/>
                  </a:cubicBezTo>
                  <a:close/>
                </a:path>
              </a:pathLst>
            </a:cu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4690" y="1472706"/>
            <a:ext cx="10845798" cy="22939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82322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xmlns="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837829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684735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xmlns="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F7F7CA9-6A68-4945-A4C6-6446471CD7BD}" type="datetime1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xmlns="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xmlns="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450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hyperlink" Target="http://zizhuxt.upc.edu.cn/" TargetMode="Externa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8.xml"/><Relationship Id="rId6" Type="http://schemas.openxmlformats.org/officeDocument/2006/relationships/image" Target="../media/image19.jpe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oc.me/mobile/group/528833/index#invitation=JF9H3S52" TargetMode="External"/><Relationship Id="rId3" Type="http://schemas.openxmlformats.org/officeDocument/2006/relationships/notesSlide" Target="../notesSlides/notesSlide3.xml"/><Relationship Id="rId7" Type="http://schemas.openxmlformats.org/officeDocument/2006/relationships/hyperlink" Target="http://csun.upc.edu.cn/2020/0824/c4439a314767/page.htm#invitation=JF9H3S52" TargetMode="Externa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9.xml"/><Relationship Id="rId6" Type="http://schemas.openxmlformats.org/officeDocument/2006/relationships/hyperlink" Target="https://www.yooc.me/group/528833#invitation=JF9H3S52" TargetMode="External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xmlns="" id="{17D5DC35-201B-4590-BA9F-9D8533DC9F9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" r="548"/>
          <a:stretch/>
        </p:blipFill>
        <p:spPr>
          <a:xfrm>
            <a:off x="0" y="0"/>
            <a:ext cx="12192000" cy="6847301"/>
          </a:xfrm>
          <a:prstGeom prst="rect">
            <a:avLst/>
          </a:prstGeom>
        </p:spPr>
      </p:pic>
      <p:sp>
        <p:nvSpPr>
          <p:cNvPr id="24" name="标题 4">
            <a:extLst>
              <a:ext uri="{FF2B5EF4-FFF2-40B4-BE49-F238E27FC236}">
                <a16:creationId xmlns:a16="http://schemas.microsoft.com/office/drawing/2014/main" xmlns="" id="{0C230273-4E1B-46E0-81B5-A133CEDA08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0824" y="2146522"/>
            <a:ext cx="11326810" cy="1194893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en-US" altLang="zh-CN" sz="5400" b="1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021</a:t>
            </a:r>
            <a:r>
              <a:rPr lang="zh-CN" altLang="en-US" sz="5400" b="1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sz="5400" b="1" dirty="0" smtClean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迎新应用使用</a:t>
            </a:r>
            <a:r>
              <a:rPr lang="zh-CN" altLang="en-US" sz="5400" b="1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说明（学生版）</a:t>
            </a:r>
            <a:endParaRPr lang="zh-CN" altLang="en-US" sz="5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xmlns="" id="{D10C6A9B-B3E8-4FBE-8457-DC0E10C489A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38460" y="241022"/>
            <a:ext cx="703082" cy="762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69" name="Picture 45" descr="http://csun.upc.edu.cn/_upload/site/00/3b/59/logo.png">
            <a:extLst>
              <a:ext uri="{FF2B5EF4-FFF2-40B4-BE49-F238E27FC236}">
                <a16:creationId xmlns:a16="http://schemas.microsoft.com/office/drawing/2014/main" xmlns="" id="{2EF5043B-B676-4AB1-84EA-4C997CED63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132"/>
          <a:stretch/>
        </p:blipFill>
        <p:spPr bwMode="auto">
          <a:xfrm>
            <a:off x="341977" y="309677"/>
            <a:ext cx="703082" cy="66279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标题 4">
            <a:extLst>
              <a:ext uri="{FF2B5EF4-FFF2-40B4-BE49-F238E27FC236}">
                <a16:creationId xmlns:a16="http://schemas.microsoft.com/office/drawing/2014/main" xmlns="" id="{48108CFC-0C93-4931-BFAB-8202C9A46988}"/>
              </a:ext>
            </a:extLst>
          </p:cNvPr>
          <p:cNvSpPr txBox="1">
            <a:spLocks/>
          </p:cNvSpPr>
          <p:nvPr/>
        </p:nvSpPr>
        <p:spPr>
          <a:xfrm>
            <a:off x="4240610" y="3920054"/>
            <a:ext cx="3710780" cy="466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400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021</a:t>
            </a:r>
            <a:r>
              <a:rPr lang="zh-CN" altLang="en-US" sz="2400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2400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2400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2400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标题 4">
            <a:extLst>
              <a:ext uri="{FF2B5EF4-FFF2-40B4-BE49-F238E27FC236}">
                <a16:creationId xmlns:a16="http://schemas.microsoft.com/office/drawing/2014/main" xmlns="" id="{48108CFC-0C93-4931-BFAB-8202C9A46988}"/>
              </a:ext>
            </a:extLst>
          </p:cNvPr>
          <p:cNvSpPr txBox="1">
            <a:spLocks/>
          </p:cNvSpPr>
          <p:nvPr/>
        </p:nvSpPr>
        <p:spPr>
          <a:xfrm>
            <a:off x="4240610" y="4627906"/>
            <a:ext cx="3710780" cy="466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400" dirty="0" smtClean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石大易班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xmlns="" id="{3C326D0B-7DAB-41B6-8030-2E4A18CC949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xmlns="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xmlns="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xmlns="" id="{17D5DC35-201B-4590-BA9F-9D8533DC9F9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" r="548"/>
          <a:stretch/>
        </p:blipFill>
        <p:spPr>
          <a:xfrm>
            <a:off x="0" y="0"/>
            <a:ext cx="12192000" cy="6847301"/>
          </a:xfrm>
          <a:prstGeom prst="rect">
            <a:avLst/>
          </a:prstGeom>
        </p:spPr>
      </p:pic>
      <p:sp>
        <p:nvSpPr>
          <p:cNvPr id="24" name="标题 4">
            <a:extLst>
              <a:ext uri="{FF2B5EF4-FFF2-40B4-BE49-F238E27FC236}">
                <a16:creationId xmlns:a16="http://schemas.microsoft.com/office/drawing/2014/main" xmlns="" id="{0C230273-4E1B-46E0-81B5-A133CEDA08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2595" y="2454862"/>
            <a:ext cx="11326810" cy="1194893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zh-CN" altLang="en-US" sz="6000" b="1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九月，石</a:t>
            </a:r>
            <a:r>
              <a:rPr lang="zh-CN" altLang="en-US" sz="6000" b="1" dirty="0" smtClean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大期待</a:t>
            </a:r>
            <a:r>
              <a:rPr lang="zh-CN" altLang="en-US" sz="6000" b="1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你的到来</a:t>
            </a:r>
            <a:endParaRPr lang="zh-CN" altLang="en-US" sz="6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xmlns="" id="{D10C6A9B-B3E8-4FBE-8457-DC0E10C489A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38460" y="241022"/>
            <a:ext cx="703082" cy="762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69" name="Picture 45" descr="http://csun.upc.edu.cn/_upload/site/00/3b/59/logo.png">
            <a:extLst>
              <a:ext uri="{FF2B5EF4-FFF2-40B4-BE49-F238E27FC236}">
                <a16:creationId xmlns:a16="http://schemas.microsoft.com/office/drawing/2014/main" xmlns="" id="{2EF5043B-B676-4AB1-84EA-4C997CED63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132"/>
          <a:stretch/>
        </p:blipFill>
        <p:spPr bwMode="auto">
          <a:xfrm>
            <a:off x="341977" y="309677"/>
            <a:ext cx="703082" cy="66279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397753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>
            <a:extLst>
              <a:ext uri="{FF2B5EF4-FFF2-40B4-BE49-F238E27FC236}">
                <a16:creationId xmlns:a16="http://schemas.microsoft.com/office/drawing/2014/main" xmlns="" id="{9CE8B302-6093-4B10-9B6B-55A0A34AB114}"/>
              </a:ext>
            </a:extLst>
          </p:cNvPr>
          <p:cNvGrpSpPr/>
          <p:nvPr/>
        </p:nvGrpSpPr>
        <p:grpSpPr>
          <a:xfrm>
            <a:off x="4827567" y="2328441"/>
            <a:ext cx="6083321" cy="771622"/>
            <a:chOff x="5000287" y="2550161"/>
            <a:chExt cx="6083321" cy="771622"/>
          </a:xfrm>
        </p:grpSpPr>
        <p:sp>
          <p:nvSpPr>
            <p:cNvPr id="9" name="iṡ1iḋe">
              <a:extLst>
                <a:ext uri="{FF2B5EF4-FFF2-40B4-BE49-F238E27FC236}">
                  <a16:creationId xmlns:a16="http://schemas.microsoft.com/office/drawing/2014/main" xmlns="" id="{A334DB0F-0CAE-4BC9-8829-B1D25ACD7982}"/>
                </a:ext>
              </a:extLst>
            </p:cNvPr>
            <p:cNvSpPr/>
            <p:nvPr/>
          </p:nvSpPr>
          <p:spPr bwMode="auto">
            <a:xfrm>
              <a:off x="5000287" y="2550161"/>
              <a:ext cx="888887" cy="766282"/>
            </a:xfrm>
            <a:prstGeom prst="hexagon">
              <a:avLst/>
            </a:prstGeom>
            <a:solidFill>
              <a:schemeClr val="accent1">
                <a:lumMod val="10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altLang="zh-CN" sz="1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íṡḷïďé">
              <a:extLst>
                <a:ext uri="{FF2B5EF4-FFF2-40B4-BE49-F238E27FC236}">
                  <a16:creationId xmlns:a16="http://schemas.microsoft.com/office/drawing/2014/main" xmlns="" id="{AFF44E4E-CDAC-47D1-8416-DC415FAF9219}"/>
                </a:ext>
              </a:extLst>
            </p:cNvPr>
            <p:cNvSpPr/>
            <p:nvPr/>
          </p:nvSpPr>
          <p:spPr bwMode="auto">
            <a:xfrm>
              <a:off x="6030202" y="2555501"/>
              <a:ext cx="5053406" cy="766282"/>
            </a:xfrm>
            <a:prstGeom prst="hexagon">
              <a:avLst/>
            </a:prstGeom>
            <a:solidFill>
              <a:schemeClr val="accent1">
                <a:lumMod val="10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200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</p:grpSp>
      <p:grpSp>
        <p:nvGrpSpPr>
          <p:cNvPr id="11" name="îSļiḍê">
            <a:extLst>
              <a:ext uri="{FF2B5EF4-FFF2-40B4-BE49-F238E27FC236}">
                <a16:creationId xmlns:a16="http://schemas.microsoft.com/office/drawing/2014/main" xmlns="" id="{66BB70E3-C66B-4746-A863-23844A42193E}"/>
              </a:ext>
            </a:extLst>
          </p:cNvPr>
          <p:cNvGrpSpPr/>
          <p:nvPr/>
        </p:nvGrpSpPr>
        <p:grpSpPr>
          <a:xfrm>
            <a:off x="1067752" y="1864072"/>
            <a:ext cx="2807020" cy="3129856"/>
            <a:chOff x="4693878" y="-802178"/>
            <a:chExt cx="2807022" cy="3129860"/>
          </a:xfrm>
        </p:grpSpPr>
        <p:sp>
          <p:nvSpPr>
            <p:cNvPr id="12" name="i$ļîďé">
              <a:extLst>
                <a:ext uri="{FF2B5EF4-FFF2-40B4-BE49-F238E27FC236}">
                  <a16:creationId xmlns:a16="http://schemas.microsoft.com/office/drawing/2014/main" xmlns="" id="{30C43BF9-23FF-4D62-A96A-7B9B7F9224D9}"/>
                </a:ext>
              </a:extLst>
            </p:cNvPr>
            <p:cNvSpPr/>
            <p:nvPr/>
          </p:nvSpPr>
          <p:spPr>
            <a:xfrm>
              <a:off x="4693878" y="-802178"/>
              <a:ext cx="2807022" cy="3129860"/>
            </a:xfrm>
            <a:custGeom>
              <a:avLst/>
              <a:gdLst>
                <a:gd name="connsiteX0" fmla="*/ 1124365 w 2248729"/>
                <a:gd name="connsiteY0" fmla="*/ 0 h 2507353"/>
                <a:gd name="connsiteX1" fmla="*/ 1257442 w 2248729"/>
                <a:gd name="connsiteY1" fmla="*/ 31576 h 2507353"/>
                <a:gd name="connsiteX2" fmla="*/ 2115652 w 2248729"/>
                <a:gd name="connsiteY2" fmla="*/ 527274 h 2507353"/>
                <a:gd name="connsiteX3" fmla="*/ 2248729 w 2248729"/>
                <a:gd name="connsiteY3" fmla="*/ 758148 h 2507353"/>
                <a:gd name="connsiteX4" fmla="*/ 2248729 w 2248729"/>
                <a:gd name="connsiteY4" fmla="*/ 1749546 h 2507353"/>
                <a:gd name="connsiteX5" fmla="*/ 2115652 w 2248729"/>
                <a:gd name="connsiteY5" fmla="*/ 1980419 h 2507353"/>
                <a:gd name="connsiteX6" fmla="*/ 1257442 w 2248729"/>
                <a:gd name="connsiteY6" fmla="*/ 2474760 h 2507353"/>
                <a:gd name="connsiteX7" fmla="*/ 991288 w 2248729"/>
                <a:gd name="connsiteY7" fmla="*/ 2474760 h 2507353"/>
                <a:gd name="connsiteX8" fmla="*/ 133077 w 2248729"/>
                <a:gd name="connsiteY8" fmla="*/ 1980419 h 2507353"/>
                <a:gd name="connsiteX9" fmla="*/ 0 w 2248729"/>
                <a:gd name="connsiteY9" fmla="*/ 1749546 h 2507353"/>
                <a:gd name="connsiteX10" fmla="*/ 0 w 2248729"/>
                <a:gd name="connsiteY10" fmla="*/ 758148 h 2507353"/>
                <a:gd name="connsiteX11" fmla="*/ 133077 w 2248729"/>
                <a:gd name="connsiteY11" fmla="*/ 527274 h 2507353"/>
                <a:gd name="connsiteX12" fmla="*/ 991288 w 2248729"/>
                <a:gd name="connsiteY12" fmla="*/ 31576 h 2507353"/>
                <a:gd name="connsiteX13" fmla="*/ 1124365 w 2248729"/>
                <a:gd name="connsiteY13" fmla="*/ 0 h 250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48729" h="2507353">
                  <a:moveTo>
                    <a:pt x="1124365" y="0"/>
                  </a:moveTo>
                  <a:cubicBezTo>
                    <a:pt x="1172571" y="0"/>
                    <a:pt x="1220778" y="10526"/>
                    <a:pt x="1257442" y="31576"/>
                  </a:cubicBezTo>
                  <a:cubicBezTo>
                    <a:pt x="2115652" y="527274"/>
                    <a:pt x="2115652" y="527274"/>
                    <a:pt x="2115652" y="527274"/>
                  </a:cubicBezTo>
                  <a:cubicBezTo>
                    <a:pt x="2188980" y="569375"/>
                    <a:pt x="2248729" y="672589"/>
                    <a:pt x="2248729" y="758148"/>
                  </a:cubicBezTo>
                  <a:cubicBezTo>
                    <a:pt x="2248729" y="1749546"/>
                    <a:pt x="2248729" y="1749546"/>
                    <a:pt x="2248729" y="1749546"/>
                  </a:cubicBezTo>
                  <a:cubicBezTo>
                    <a:pt x="2248729" y="1833746"/>
                    <a:pt x="2188980" y="1936960"/>
                    <a:pt x="2115652" y="1980419"/>
                  </a:cubicBezTo>
                  <a:cubicBezTo>
                    <a:pt x="1257442" y="2474760"/>
                    <a:pt x="1257442" y="2474760"/>
                    <a:pt x="1257442" y="2474760"/>
                  </a:cubicBezTo>
                  <a:cubicBezTo>
                    <a:pt x="1184114" y="2518218"/>
                    <a:pt x="1064616" y="2518218"/>
                    <a:pt x="991288" y="2474760"/>
                  </a:cubicBezTo>
                  <a:cubicBezTo>
                    <a:pt x="133077" y="1980419"/>
                    <a:pt x="133077" y="1980419"/>
                    <a:pt x="133077" y="1980419"/>
                  </a:cubicBezTo>
                  <a:cubicBezTo>
                    <a:pt x="59749" y="1936960"/>
                    <a:pt x="0" y="1833746"/>
                    <a:pt x="0" y="1749546"/>
                  </a:cubicBezTo>
                  <a:lnTo>
                    <a:pt x="0" y="758148"/>
                  </a:lnTo>
                  <a:cubicBezTo>
                    <a:pt x="0" y="672589"/>
                    <a:pt x="59749" y="569375"/>
                    <a:pt x="133077" y="527274"/>
                  </a:cubicBezTo>
                  <a:cubicBezTo>
                    <a:pt x="991288" y="31576"/>
                    <a:pt x="991288" y="31576"/>
                    <a:pt x="991288" y="31576"/>
                  </a:cubicBezTo>
                  <a:cubicBezTo>
                    <a:pt x="1027952" y="10526"/>
                    <a:pt x="1076158" y="0"/>
                    <a:pt x="1124365" y="0"/>
                  </a:cubicBezTo>
                  <a:close/>
                </a:path>
              </a:pathLst>
            </a:custGeom>
            <a:solidFill>
              <a:schemeClr val="tx2">
                <a:alpha val="8000"/>
              </a:schemeClr>
            </a:solidFill>
            <a:ln w="222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3" name="íŝḷíḓè">
              <a:extLst>
                <a:ext uri="{FF2B5EF4-FFF2-40B4-BE49-F238E27FC236}">
                  <a16:creationId xmlns:a16="http://schemas.microsoft.com/office/drawing/2014/main" xmlns="" id="{DDEE1471-F9FA-43FC-A6FF-81CFC3258E03}"/>
                </a:ext>
              </a:extLst>
            </p:cNvPr>
            <p:cNvSpPr/>
            <p:nvPr/>
          </p:nvSpPr>
          <p:spPr>
            <a:xfrm>
              <a:off x="5081623" y="-368288"/>
              <a:ext cx="2028752" cy="2262080"/>
            </a:xfrm>
            <a:custGeom>
              <a:avLst/>
              <a:gdLst>
                <a:gd name="connsiteX0" fmla="*/ 1124365 w 2248729"/>
                <a:gd name="connsiteY0" fmla="*/ 0 h 2507353"/>
                <a:gd name="connsiteX1" fmla="*/ 1257442 w 2248729"/>
                <a:gd name="connsiteY1" fmla="*/ 31576 h 2507353"/>
                <a:gd name="connsiteX2" fmla="*/ 2115652 w 2248729"/>
                <a:gd name="connsiteY2" fmla="*/ 527274 h 2507353"/>
                <a:gd name="connsiteX3" fmla="*/ 2248729 w 2248729"/>
                <a:gd name="connsiteY3" fmla="*/ 758148 h 2507353"/>
                <a:gd name="connsiteX4" fmla="*/ 2248729 w 2248729"/>
                <a:gd name="connsiteY4" fmla="*/ 1749546 h 2507353"/>
                <a:gd name="connsiteX5" fmla="*/ 2115652 w 2248729"/>
                <a:gd name="connsiteY5" fmla="*/ 1980419 h 2507353"/>
                <a:gd name="connsiteX6" fmla="*/ 1257442 w 2248729"/>
                <a:gd name="connsiteY6" fmla="*/ 2474760 h 2507353"/>
                <a:gd name="connsiteX7" fmla="*/ 991288 w 2248729"/>
                <a:gd name="connsiteY7" fmla="*/ 2474760 h 2507353"/>
                <a:gd name="connsiteX8" fmla="*/ 133077 w 2248729"/>
                <a:gd name="connsiteY8" fmla="*/ 1980419 h 2507353"/>
                <a:gd name="connsiteX9" fmla="*/ 0 w 2248729"/>
                <a:gd name="connsiteY9" fmla="*/ 1749546 h 2507353"/>
                <a:gd name="connsiteX10" fmla="*/ 0 w 2248729"/>
                <a:gd name="connsiteY10" fmla="*/ 758148 h 2507353"/>
                <a:gd name="connsiteX11" fmla="*/ 133077 w 2248729"/>
                <a:gd name="connsiteY11" fmla="*/ 527274 h 2507353"/>
                <a:gd name="connsiteX12" fmla="*/ 991288 w 2248729"/>
                <a:gd name="connsiteY12" fmla="*/ 31576 h 2507353"/>
                <a:gd name="connsiteX13" fmla="*/ 1124365 w 2248729"/>
                <a:gd name="connsiteY13" fmla="*/ 0 h 250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48729" h="2507353">
                  <a:moveTo>
                    <a:pt x="1124365" y="0"/>
                  </a:moveTo>
                  <a:cubicBezTo>
                    <a:pt x="1172571" y="0"/>
                    <a:pt x="1220778" y="10526"/>
                    <a:pt x="1257442" y="31576"/>
                  </a:cubicBezTo>
                  <a:cubicBezTo>
                    <a:pt x="2115652" y="527274"/>
                    <a:pt x="2115652" y="527274"/>
                    <a:pt x="2115652" y="527274"/>
                  </a:cubicBezTo>
                  <a:cubicBezTo>
                    <a:pt x="2188980" y="569375"/>
                    <a:pt x="2248729" y="672589"/>
                    <a:pt x="2248729" y="758148"/>
                  </a:cubicBezTo>
                  <a:cubicBezTo>
                    <a:pt x="2248729" y="1749546"/>
                    <a:pt x="2248729" y="1749546"/>
                    <a:pt x="2248729" y="1749546"/>
                  </a:cubicBezTo>
                  <a:cubicBezTo>
                    <a:pt x="2248729" y="1833746"/>
                    <a:pt x="2188980" y="1936960"/>
                    <a:pt x="2115652" y="1980419"/>
                  </a:cubicBezTo>
                  <a:cubicBezTo>
                    <a:pt x="1257442" y="2474760"/>
                    <a:pt x="1257442" y="2474760"/>
                    <a:pt x="1257442" y="2474760"/>
                  </a:cubicBezTo>
                  <a:cubicBezTo>
                    <a:pt x="1184114" y="2518218"/>
                    <a:pt x="1064616" y="2518218"/>
                    <a:pt x="991288" y="2474760"/>
                  </a:cubicBezTo>
                  <a:cubicBezTo>
                    <a:pt x="133077" y="1980419"/>
                    <a:pt x="133077" y="1980419"/>
                    <a:pt x="133077" y="1980419"/>
                  </a:cubicBezTo>
                  <a:cubicBezTo>
                    <a:pt x="59749" y="1936960"/>
                    <a:pt x="0" y="1833746"/>
                    <a:pt x="0" y="1749546"/>
                  </a:cubicBezTo>
                  <a:lnTo>
                    <a:pt x="0" y="758148"/>
                  </a:lnTo>
                  <a:cubicBezTo>
                    <a:pt x="0" y="672589"/>
                    <a:pt x="59749" y="569375"/>
                    <a:pt x="133077" y="527274"/>
                  </a:cubicBezTo>
                  <a:cubicBezTo>
                    <a:pt x="991288" y="31576"/>
                    <a:pt x="991288" y="31576"/>
                    <a:pt x="991288" y="31576"/>
                  </a:cubicBezTo>
                  <a:cubicBezTo>
                    <a:pt x="1027952" y="10526"/>
                    <a:pt x="1076158" y="0"/>
                    <a:pt x="1124365" y="0"/>
                  </a:cubicBezTo>
                  <a:close/>
                </a:path>
              </a:pathLst>
            </a:custGeom>
            <a:solidFill>
              <a:schemeClr val="bg1">
                <a:lumMod val="65000"/>
                <a:alpha val="19000"/>
              </a:schemeClr>
            </a:solidFill>
            <a:ln w="222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15" name="îsļîdé">
              <a:extLst>
                <a:ext uri="{FF2B5EF4-FFF2-40B4-BE49-F238E27FC236}">
                  <a16:creationId xmlns:a16="http://schemas.microsoft.com/office/drawing/2014/main" xmlns="" id="{82CF5553-6118-47D4-ADCE-AE4AC1F636DC}"/>
                </a:ext>
              </a:extLst>
            </p:cNvPr>
            <p:cNvSpPr/>
            <p:nvPr/>
          </p:nvSpPr>
          <p:spPr>
            <a:xfrm>
              <a:off x="5411924" y="0"/>
              <a:ext cx="1368152" cy="1525504"/>
            </a:xfrm>
            <a:custGeom>
              <a:avLst/>
              <a:gdLst>
                <a:gd name="connsiteX0" fmla="*/ 1124365 w 2248729"/>
                <a:gd name="connsiteY0" fmla="*/ 0 h 2507353"/>
                <a:gd name="connsiteX1" fmla="*/ 1257442 w 2248729"/>
                <a:gd name="connsiteY1" fmla="*/ 31576 h 2507353"/>
                <a:gd name="connsiteX2" fmla="*/ 2115652 w 2248729"/>
                <a:gd name="connsiteY2" fmla="*/ 527274 h 2507353"/>
                <a:gd name="connsiteX3" fmla="*/ 2248729 w 2248729"/>
                <a:gd name="connsiteY3" fmla="*/ 758148 h 2507353"/>
                <a:gd name="connsiteX4" fmla="*/ 2248729 w 2248729"/>
                <a:gd name="connsiteY4" fmla="*/ 1749546 h 2507353"/>
                <a:gd name="connsiteX5" fmla="*/ 2115652 w 2248729"/>
                <a:gd name="connsiteY5" fmla="*/ 1980419 h 2507353"/>
                <a:gd name="connsiteX6" fmla="*/ 1257442 w 2248729"/>
                <a:gd name="connsiteY6" fmla="*/ 2474760 h 2507353"/>
                <a:gd name="connsiteX7" fmla="*/ 991288 w 2248729"/>
                <a:gd name="connsiteY7" fmla="*/ 2474760 h 2507353"/>
                <a:gd name="connsiteX8" fmla="*/ 133077 w 2248729"/>
                <a:gd name="connsiteY8" fmla="*/ 1980419 h 2507353"/>
                <a:gd name="connsiteX9" fmla="*/ 0 w 2248729"/>
                <a:gd name="connsiteY9" fmla="*/ 1749546 h 2507353"/>
                <a:gd name="connsiteX10" fmla="*/ 0 w 2248729"/>
                <a:gd name="connsiteY10" fmla="*/ 758148 h 2507353"/>
                <a:gd name="connsiteX11" fmla="*/ 133077 w 2248729"/>
                <a:gd name="connsiteY11" fmla="*/ 527274 h 2507353"/>
                <a:gd name="connsiteX12" fmla="*/ 991288 w 2248729"/>
                <a:gd name="connsiteY12" fmla="*/ 31576 h 2507353"/>
                <a:gd name="connsiteX13" fmla="*/ 1124365 w 2248729"/>
                <a:gd name="connsiteY13" fmla="*/ 0 h 250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48729" h="2507353">
                  <a:moveTo>
                    <a:pt x="1124365" y="0"/>
                  </a:moveTo>
                  <a:cubicBezTo>
                    <a:pt x="1172571" y="0"/>
                    <a:pt x="1220778" y="10526"/>
                    <a:pt x="1257442" y="31576"/>
                  </a:cubicBezTo>
                  <a:cubicBezTo>
                    <a:pt x="2115652" y="527274"/>
                    <a:pt x="2115652" y="527274"/>
                    <a:pt x="2115652" y="527274"/>
                  </a:cubicBezTo>
                  <a:cubicBezTo>
                    <a:pt x="2188980" y="569375"/>
                    <a:pt x="2248729" y="672589"/>
                    <a:pt x="2248729" y="758148"/>
                  </a:cubicBezTo>
                  <a:cubicBezTo>
                    <a:pt x="2248729" y="1749546"/>
                    <a:pt x="2248729" y="1749546"/>
                    <a:pt x="2248729" y="1749546"/>
                  </a:cubicBezTo>
                  <a:cubicBezTo>
                    <a:pt x="2248729" y="1833746"/>
                    <a:pt x="2188980" y="1936960"/>
                    <a:pt x="2115652" y="1980419"/>
                  </a:cubicBezTo>
                  <a:cubicBezTo>
                    <a:pt x="1257442" y="2474760"/>
                    <a:pt x="1257442" y="2474760"/>
                    <a:pt x="1257442" y="2474760"/>
                  </a:cubicBezTo>
                  <a:cubicBezTo>
                    <a:pt x="1184114" y="2518218"/>
                    <a:pt x="1064616" y="2518218"/>
                    <a:pt x="991288" y="2474760"/>
                  </a:cubicBezTo>
                  <a:cubicBezTo>
                    <a:pt x="133077" y="1980419"/>
                    <a:pt x="133077" y="1980419"/>
                    <a:pt x="133077" y="1980419"/>
                  </a:cubicBezTo>
                  <a:cubicBezTo>
                    <a:pt x="59749" y="1936960"/>
                    <a:pt x="0" y="1833746"/>
                    <a:pt x="0" y="1749546"/>
                  </a:cubicBezTo>
                  <a:lnTo>
                    <a:pt x="0" y="758148"/>
                  </a:lnTo>
                  <a:cubicBezTo>
                    <a:pt x="0" y="672589"/>
                    <a:pt x="59749" y="569375"/>
                    <a:pt x="133077" y="527274"/>
                  </a:cubicBezTo>
                  <a:cubicBezTo>
                    <a:pt x="991288" y="31576"/>
                    <a:pt x="991288" y="31576"/>
                    <a:pt x="991288" y="31576"/>
                  </a:cubicBezTo>
                  <a:cubicBezTo>
                    <a:pt x="1027952" y="10526"/>
                    <a:pt x="1076158" y="0"/>
                    <a:pt x="1124365" y="0"/>
                  </a:cubicBezTo>
                  <a:close/>
                </a:path>
              </a:pathLst>
            </a:custGeom>
            <a:solidFill>
              <a:schemeClr val="accent1"/>
            </a:solidFill>
            <a:ln w="222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1600" dirty="0">
                <a:solidFill>
                  <a:schemeClr val="bg1"/>
                </a:solidFill>
              </a:endParaRPr>
            </a:p>
            <a:p>
              <a:pPr algn="ctr"/>
              <a:endParaRPr lang="en-US" altLang="zh-CN" sz="1600" dirty="0">
                <a:solidFill>
                  <a:schemeClr val="bg1"/>
                </a:solidFill>
              </a:endParaRPr>
            </a:p>
            <a:p>
              <a:pPr algn="ctr"/>
              <a:r>
                <a:rPr lang="en-US" altLang="zh-CN" sz="1600" dirty="0">
                  <a:solidFill>
                    <a:schemeClr val="bg1"/>
                  </a:solidFill>
                </a:rPr>
                <a:t>CONTENTS</a:t>
              </a:r>
            </a:p>
          </p:txBody>
        </p:sp>
        <p:sp>
          <p:nvSpPr>
            <p:cNvPr id="16" name="îṧľiḓe">
              <a:extLst>
                <a:ext uri="{FF2B5EF4-FFF2-40B4-BE49-F238E27FC236}">
                  <a16:creationId xmlns:a16="http://schemas.microsoft.com/office/drawing/2014/main" xmlns="" id="{00F7B734-3695-48C9-8622-E62BAF81E3FE}"/>
                </a:ext>
              </a:extLst>
            </p:cNvPr>
            <p:cNvSpPr/>
            <p:nvPr/>
          </p:nvSpPr>
          <p:spPr bwMode="auto">
            <a:xfrm>
              <a:off x="5880783" y="301468"/>
              <a:ext cx="430432" cy="430432"/>
            </a:xfrm>
            <a:custGeom>
              <a:avLst/>
              <a:gdLst>
                <a:gd name="connsiteX0" fmla="*/ 158750 w 508000"/>
                <a:gd name="connsiteY0" fmla="*/ 345281 h 508000"/>
                <a:gd name="connsiteX1" fmla="*/ 158750 w 508000"/>
                <a:gd name="connsiteY1" fmla="*/ 377031 h 508000"/>
                <a:gd name="connsiteX2" fmla="*/ 349250 w 508000"/>
                <a:gd name="connsiteY2" fmla="*/ 377031 h 508000"/>
                <a:gd name="connsiteX3" fmla="*/ 349250 w 508000"/>
                <a:gd name="connsiteY3" fmla="*/ 345281 h 508000"/>
                <a:gd name="connsiteX4" fmla="*/ 99219 w 508000"/>
                <a:gd name="connsiteY4" fmla="*/ 257969 h 508000"/>
                <a:gd name="connsiteX5" fmla="*/ 416719 w 508000"/>
                <a:gd name="connsiteY5" fmla="*/ 257969 h 508000"/>
                <a:gd name="connsiteX6" fmla="*/ 416719 w 508000"/>
                <a:gd name="connsiteY6" fmla="*/ 285750 h 508000"/>
                <a:gd name="connsiteX7" fmla="*/ 99219 w 508000"/>
                <a:gd name="connsiteY7" fmla="*/ 285750 h 508000"/>
                <a:gd name="connsiteX8" fmla="*/ 99219 w 508000"/>
                <a:gd name="connsiteY8" fmla="*/ 186531 h 508000"/>
                <a:gd name="connsiteX9" fmla="*/ 416719 w 508000"/>
                <a:gd name="connsiteY9" fmla="*/ 186531 h 508000"/>
                <a:gd name="connsiteX10" fmla="*/ 416719 w 508000"/>
                <a:gd name="connsiteY10" fmla="*/ 218281 h 508000"/>
                <a:gd name="connsiteX11" fmla="*/ 99219 w 508000"/>
                <a:gd name="connsiteY11" fmla="*/ 218281 h 508000"/>
                <a:gd name="connsiteX12" fmla="*/ 130969 w 508000"/>
                <a:gd name="connsiteY12" fmla="*/ 127000 h 508000"/>
                <a:gd name="connsiteX13" fmla="*/ 377032 w 508000"/>
                <a:gd name="connsiteY13" fmla="*/ 127000 h 508000"/>
                <a:gd name="connsiteX14" fmla="*/ 377032 w 508000"/>
                <a:gd name="connsiteY14" fmla="*/ 158750 h 508000"/>
                <a:gd name="connsiteX15" fmla="*/ 130969 w 508000"/>
                <a:gd name="connsiteY15" fmla="*/ 158750 h 508000"/>
                <a:gd name="connsiteX16" fmla="*/ 130969 w 508000"/>
                <a:gd name="connsiteY16" fmla="*/ 59531 h 508000"/>
                <a:gd name="connsiteX17" fmla="*/ 377032 w 508000"/>
                <a:gd name="connsiteY17" fmla="*/ 59531 h 508000"/>
                <a:gd name="connsiteX18" fmla="*/ 377032 w 508000"/>
                <a:gd name="connsiteY18" fmla="*/ 99219 h 508000"/>
                <a:gd name="connsiteX19" fmla="*/ 130969 w 508000"/>
                <a:gd name="connsiteY19" fmla="*/ 99219 h 508000"/>
                <a:gd name="connsiteX20" fmla="*/ 99219 w 508000"/>
                <a:gd name="connsiteY20" fmla="*/ 27781 h 508000"/>
                <a:gd name="connsiteX21" fmla="*/ 31750 w 508000"/>
                <a:gd name="connsiteY21" fmla="*/ 317500 h 508000"/>
                <a:gd name="connsiteX22" fmla="*/ 480219 w 508000"/>
                <a:gd name="connsiteY22" fmla="*/ 317500 h 508000"/>
                <a:gd name="connsiteX23" fmla="*/ 416719 w 508000"/>
                <a:gd name="connsiteY23" fmla="*/ 27781 h 508000"/>
                <a:gd name="connsiteX24" fmla="*/ 59531 w 508000"/>
                <a:gd name="connsiteY24" fmla="*/ 0 h 508000"/>
                <a:gd name="connsiteX25" fmla="*/ 448469 w 508000"/>
                <a:gd name="connsiteY25" fmla="*/ 0 h 508000"/>
                <a:gd name="connsiteX26" fmla="*/ 508000 w 508000"/>
                <a:gd name="connsiteY26" fmla="*/ 317500 h 508000"/>
                <a:gd name="connsiteX27" fmla="*/ 480219 w 508000"/>
                <a:gd name="connsiteY27" fmla="*/ 508000 h 508000"/>
                <a:gd name="connsiteX28" fmla="*/ 31750 w 508000"/>
                <a:gd name="connsiteY28" fmla="*/ 508000 h 508000"/>
                <a:gd name="connsiteX29" fmla="*/ 0 w 508000"/>
                <a:gd name="connsiteY29" fmla="*/ 3175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08000" h="508000">
                  <a:moveTo>
                    <a:pt x="158750" y="345281"/>
                  </a:moveTo>
                  <a:lnTo>
                    <a:pt x="158750" y="377031"/>
                  </a:lnTo>
                  <a:lnTo>
                    <a:pt x="349250" y="377031"/>
                  </a:lnTo>
                  <a:lnTo>
                    <a:pt x="349250" y="345281"/>
                  </a:lnTo>
                  <a:close/>
                  <a:moveTo>
                    <a:pt x="99219" y="257969"/>
                  </a:moveTo>
                  <a:lnTo>
                    <a:pt x="416719" y="257969"/>
                  </a:lnTo>
                  <a:lnTo>
                    <a:pt x="416719" y="285750"/>
                  </a:lnTo>
                  <a:lnTo>
                    <a:pt x="99219" y="285750"/>
                  </a:lnTo>
                  <a:close/>
                  <a:moveTo>
                    <a:pt x="99219" y="186531"/>
                  </a:moveTo>
                  <a:lnTo>
                    <a:pt x="416719" y="186531"/>
                  </a:lnTo>
                  <a:lnTo>
                    <a:pt x="416719" y="218281"/>
                  </a:lnTo>
                  <a:lnTo>
                    <a:pt x="99219" y="218281"/>
                  </a:lnTo>
                  <a:close/>
                  <a:moveTo>
                    <a:pt x="130969" y="127000"/>
                  </a:moveTo>
                  <a:lnTo>
                    <a:pt x="377032" y="127000"/>
                  </a:lnTo>
                  <a:lnTo>
                    <a:pt x="377032" y="158750"/>
                  </a:lnTo>
                  <a:lnTo>
                    <a:pt x="130969" y="158750"/>
                  </a:lnTo>
                  <a:close/>
                  <a:moveTo>
                    <a:pt x="130969" y="59531"/>
                  </a:moveTo>
                  <a:lnTo>
                    <a:pt x="377032" y="59531"/>
                  </a:lnTo>
                  <a:lnTo>
                    <a:pt x="377032" y="99219"/>
                  </a:lnTo>
                  <a:lnTo>
                    <a:pt x="130969" y="99219"/>
                  </a:lnTo>
                  <a:close/>
                  <a:moveTo>
                    <a:pt x="99219" y="27781"/>
                  </a:moveTo>
                  <a:lnTo>
                    <a:pt x="31750" y="317500"/>
                  </a:lnTo>
                  <a:lnTo>
                    <a:pt x="480219" y="317500"/>
                  </a:lnTo>
                  <a:lnTo>
                    <a:pt x="416719" y="27781"/>
                  </a:lnTo>
                  <a:close/>
                  <a:moveTo>
                    <a:pt x="59531" y="0"/>
                  </a:moveTo>
                  <a:lnTo>
                    <a:pt x="448469" y="0"/>
                  </a:lnTo>
                  <a:lnTo>
                    <a:pt x="508000" y="317500"/>
                  </a:lnTo>
                  <a:lnTo>
                    <a:pt x="480219" y="508000"/>
                  </a:lnTo>
                  <a:lnTo>
                    <a:pt x="31750" y="50800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xmlns="" id="{32888C7D-05E0-4859-B1BD-6D1E6BA1B498}"/>
              </a:ext>
            </a:extLst>
          </p:cNvPr>
          <p:cNvGrpSpPr/>
          <p:nvPr/>
        </p:nvGrpSpPr>
        <p:grpSpPr>
          <a:xfrm>
            <a:off x="4827567" y="3725660"/>
            <a:ext cx="6083321" cy="771622"/>
            <a:chOff x="5000287" y="2550161"/>
            <a:chExt cx="6083321" cy="771622"/>
          </a:xfrm>
        </p:grpSpPr>
        <p:sp>
          <p:nvSpPr>
            <p:cNvPr id="19" name="iṡ1iḋe">
              <a:extLst>
                <a:ext uri="{FF2B5EF4-FFF2-40B4-BE49-F238E27FC236}">
                  <a16:creationId xmlns:a16="http://schemas.microsoft.com/office/drawing/2014/main" xmlns="" id="{3105A7C0-8325-4D7E-B2FA-AC581118479E}"/>
                </a:ext>
              </a:extLst>
            </p:cNvPr>
            <p:cNvSpPr/>
            <p:nvPr/>
          </p:nvSpPr>
          <p:spPr bwMode="auto">
            <a:xfrm>
              <a:off x="5000287" y="2550161"/>
              <a:ext cx="888887" cy="766282"/>
            </a:xfrm>
            <a:prstGeom prst="hexagon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altLang="zh-CN" sz="1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0" name="íṡḷïďé">
              <a:extLst>
                <a:ext uri="{FF2B5EF4-FFF2-40B4-BE49-F238E27FC236}">
                  <a16:creationId xmlns:a16="http://schemas.microsoft.com/office/drawing/2014/main" xmlns="" id="{C7C69F4E-8C93-4714-8E3B-2CD564928163}"/>
                </a:ext>
              </a:extLst>
            </p:cNvPr>
            <p:cNvSpPr/>
            <p:nvPr/>
          </p:nvSpPr>
          <p:spPr bwMode="auto">
            <a:xfrm>
              <a:off x="6030202" y="2555501"/>
              <a:ext cx="5053406" cy="766282"/>
            </a:xfrm>
            <a:prstGeom prst="hexagon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200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C56959FE-E7E9-49B3-8903-E907CED555BB}"/>
              </a:ext>
            </a:extLst>
          </p:cNvPr>
          <p:cNvSpPr txBox="1"/>
          <p:nvPr/>
        </p:nvSpPr>
        <p:spPr>
          <a:xfrm>
            <a:off x="4992610" y="2419194"/>
            <a:ext cx="558800" cy="5847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>
                <a:solidFill>
                  <a:schemeClr val="bg1"/>
                </a:solidFill>
                <a:latin typeface="Britannic Bold" panose="020B0903060703020204" pitchFamily="34" charset="0"/>
              </a:rPr>
              <a:t>1</a:t>
            </a:r>
            <a:endParaRPr lang="zh-CN" altLang="en-US" sz="3200" dirty="0">
              <a:solidFill>
                <a:schemeClr val="bg1"/>
              </a:solidFill>
              <a:latin typeface="Britannic Bold" panose="020B090306070302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xmlns="" id="{E6712D56-82F4-4A26-96E8-9B822CD9A31C}"/>
              </a:ext>
            </a:extLst>
          </p:cNvPr>
          <p:cNvSpPr txBox="1"/>
          <p:nvPr/>
        </p:nvSpPr>
        <p:spPr>
          <a:xfrm>
            <a:off x="6309360" y="2444497"/>
            <a:ext cx="3841344" cy="52322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新生预报到流程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xmlns="" id="{7B4EB677-A134-4026-BA6A-759CD10E7A82}"/>
              </a:ext>
            </a:extLst>
          </p:cNvPr>
          <p:cNvSpPr txBox="1"/>
          <p:nvPr/>
        </p:nvSpPr>
        <p:spPr>
          <a:xfrm>
            <a:off x="4992610" y="3816413"/>
            <a:ext cx="558800" cy="5847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>
                <a:solidFill>
                  <a:schemeClr val="bg1">
                    <a:lumMod val="85000"/>
                  </a:schemeClr>
                </a:solidFill>
                <a:latin typeface="Britannic Bold" panose="020B0903060703020204" pitchFamily="34" charset="0"/>
              </a:rPr>
              <a:t>2</a:t>
            </a:r>
            <a:endParaRPr lang="zh-CN" altLang="en-US" sz="3200" dirty="0">
              <a:solidFill>
                <a:schemeClr val="bg1">
                  <a:lumMod val="85000"/>
                </a:schemeClr>
              </a:solidFill>
              <a:latin typeface="Britannic Bold" panose="020B0903060703020204" pitchFamily="34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xmlns="" id="{E9410349-E8D0-44C5-B60E-042F707B4B95}"/>
              </a:ext>
            </a:extLst>
          </p:cNvPr>
          <p:cNvSpPr txBox="1"/>
          <p:nvPr/>
        </p:nvSpPr>
        <p:spPr>
          <a:xfrm>
            <a:off x="6309360" y="3847190"/>
            <a:ext cx="3841344" cy="52322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chemeClr val="bg1">
                    <a:lumMod val="85000"/>
                  </a:schemeClr>
                </a:solidFill>
              </a:rPr>
              <a:t>易班注册认证流程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88591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: 圆角 8">
            <a:extLst>
              <a:ext uri="{FF2B5EF4-FFF2-40B4-BE49-F238E27FC236}">
                <a16:creationId xmlns:a16="http://schemas.microsoft.com/office/drawing/2014/main" xmlns="" id="{84F55AEF-B753-4EC0-B4B7-45896B27F462}"/>
              </a:ext>
            </a:extLst>
          </p:cNvPr>
          <p:cNvSpPr/>
          <p:nvPr/>
        </p:nvSpPr>
        <p:spPr>
          <a:xfrm>
            <a:off x="233680" y="1696721"/>
            <a:ext cx="3545840" cy="3902285"/>
          </a:xfrm>
          <a:prstGeom prst="roundRect">
            <a:avLst>
              <a:gd name="adj" fmla="val 512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9" name="right-arrowheads_44810">
            <a:extLst>
              <a:ext uri="{FF2B5EF4-FFF2-40B4-BE49-F238E27FC236}">
                <a16:creationId xmlns:a16="http://schemas.microsoft.com/office/drawing/2014/main" xmlns="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xmlns="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xmlns="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:a16="http://schemas.microsoft.com/office/drawing/2014/main" xmlns="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xmlns="" id="{99AFF4A6-549B-4B2D-A39B-887B2FA89BCF}"/>
              </a:ext>
            </a:extLst>
          </p:cNvPr>
          <p:cNvSpPr txBox="1"/>
          <p:nvPr/>
        </p:nvSpPr>
        <p:spPr>
          <a:xfrm>
            <a:off x="396002" y="1737360"/>
            <a:ext cx="3179863" cy="378244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</a:rPr>
              <a:t>打开网址</a:t>
            </a:r>
            <a:endParaRPr lang="en-US" altLang="zh-CN" dirty="0">
              <a:solidFill>
                <a:schemeClr val="bg1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n-US" altLang="zh-CN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://zizhuxt.upc.edu.cn/</a:t>
            </a:r>
            <a:endParaRPr lang="en-US" altLang="zh-CN" dirty="0">
              <a:solidFill>
                <a:schemeClr val="bg1"/>
              </a:solidFill>
            </a:endParaRPr>
          </a:p>
          <a:p>
            <a:pPr algn="just">
              <a:lnSpc>
                <a:spcPct val="150000"/>
              </a:lnSpc>
            </a:pPr>
            <a:endParaRPr lang="en-US" altLang="zh-CN" dirty="0">
              <a:solidFill>
                <a:schemeClr val="bg1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</a:rPr>
              <a:t>通过</a:t>
            </a:r>
            <a:r>
              <a:rPr lang="zh-CN" altLang="en-US" b="1" dirty="0">
                <a:solidFill>
                  <a:srgbClr val="FFFF00"/>
                </a:solidFill>
              </a:rPr>
              <a:t>考生号和身份证后六位登录</a:t>
            </a:r>
            <a:r>
              <a:rPr lang="zh-CN" altLang="en-US" dirty="0">
                <a:solidFill>
                  <a:schemeClr val="bg1"/>
                </a:solidFill>
              </a:rPr>
              <a:t>，在个人信息栏查询到个人学院、学号、班级等信息，并将其他信息补充完整（建议使用谷歌或火狐浏览器，查询网址将于</a:t>
            </a:r>
            <a:r>
              <a:rPr lang="en-US" altLang="zh-CN" b="1" dirty="0">
                <a:solidFill>
                  <a:srgbClr val="FFFF00"/>
                </a:solidFill>
              </a:rPr>
              <a:t>8</a:t>
            </a:r>
            <a:r>
              <a:rPr lang="zh-CN" altLang="en-US" b="1" dirty="0">
                <a:solidFill>
                  <a:srgbClr val="FFFF00"/>
                </a:solidFill>
              </a:rPr>
              <a:t>月中旬开放</a:t>
            </a:r>
            <a:r>
              <a:rPr lang="zh-CN" altLang="en-US" dirty="0">
                <a:solidFill>
                  <a:schemeClr val="bg1"/>
                </a:solidFill>
              </a:rPr>
              <a:t>）。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A7C38575-11C0-4B54-B8A5-F99A0DD5CEE4}"/>
              </a:ext>
            </a:extLst>
          </p:cNvPr>
          <p:cNvSpPr txBox="1"/>
          <p:nvPr/>
        </p:nvSpPr>
        <p:spPr>
          <a:xfrm>
            <a:off x="744239" y="210888"/>
            <a:ext cx="5270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新生预报到流程 </a:t>
            </a:r>
            <a:r>
              <a:rPr lang="en-US" altLang="zh-CN" sz="2400" b="1" dirty="0"/>
              <a:t>—— </a:t>
            </a:r>
            <a:r>
              <a:rPr lang="zh-CN" altLang="en-US" sz="2400" b="1" dirty="0"/>
              <a:t>查询个人信息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xmlns="" id="{AB06D289-8084-4C07-BAE8-6DB0D6CEA1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41613" y="1696721"/>
            <a:ext cx="8006785" cy="390228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04EA05A4-329A-4D5B-A84C-1F286331D1E9}"/>
              </a:ext>
            </a:extLst>
          </p:cNvPr>
          <p:cNvSpPr txBox="1"/>
          <p:nvPr/>
        </p:nvSpPr>
        <p:spPr>
          <a:xfrm>
            <a:off x="9635581" y="3058974"/>
            <a:ext cx="1077513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rgbClr val="FF0000"/>
                </a:solidFill>
              </a:rPr>
              <a:t>考生号</a:t>
            </a:r>
          </a:p>
        </p:txBody>
      </p:sp>
      <p:cxnSp>
        <p:nvCxnSpPr>
          <p:cNvPr id="28" name="直接箭头连接符 27">
            <a:extLst>
              <a:ext uri="{FF2B5EF4-FFF2-40B4-BE49-F238E27FC236}">
                <a16:creationId xmlns:a16="http://schemas.microsoft.com/office/drawing/2014/main" xmlns="" id="{8CB30822-0BEA-4BFF-8C59-6E3F1BE4EDA8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9062823" y="3212863"/>
            <a:ext cx="572758" cy="327803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>
            <a:extLst>
              <a:ext uri="{FF2B5EF4-FFF2-40B4-BE49-F238E27FC236}">
                <a16:creationId xmlns:a16="http://schemas.microsoft.com/office/drawing/2014/main" xmlns="" id="{D02E8C52-FE17-4137-91A0-29A3F36F73B0}"/>
              </a:ext>
            </a:extLst>
          </p:cNvPr>
          <p:cNvCxnSpPr>
            <a:cxnSpLocks/>
          </p:cNvCxnSpPr>
          <p:nvPr/>
        </p:nvCxnSpPr>
        <p:spPr>
          <a:xfrm flipH="1" flipV="1">
            <a:off x="8919231" y="3756822"/>
            <a:ext cx="611396" cy="24109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本框 32">
            <a:extLst>
              <a:ext uri="{FF2B5EF4-FFF2-40B4-BE49-F238E27FC236}">
                <a16:creationId xmlns:a16="http://schemas.microsoft.com/office/drawing/2014/main" xmlns="" id="{7B982F8F-C755-41D8-81C5-3CF9B3F0444C}"/>
              </a:ext>
            </a:extLst>
          </p:cNvPr>
          <p:cNvSpPr txBox="1"/>
          <p:nvPr/>
        </p:nvSpPr>
        <p:spPr>
          <a:xfrm>
            <a:off x="9530627" y="3824005"/>
            <a:ext cx="128742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rgbClr val="FF0000"/>
                </a:solidFill>
              </a:rPr>
              <a:t>身份证后六位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52180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矩形 53">
            <a:extLst>
              <a:ext uri="{FF2B5EF4-FFF2-40B4-BE49-F238E27FC236}">
                <a16:creationId xmlns:a16="http://schemas.microsoft.com/office/drawing/2014/main" xmlns="" id="{A2A412EE-496D-4B55-AFDF-E99371E44648}"/>
              </a:ext>
            </a:extLst>
          </p:cNvPr>
          <p:cNvSpPr/>
          <p:nvPr/>
        </p:nvSpPr>
        <p:spPr>
          <a:xfrm>
            <a:off x="0" y="2987002"/>
            <a:ext cx="12191999" cy="33887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xmlns="" id="{58FCBD63-1B23-47FA-A209-A14E7AA331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11" b="5685"/>
          <a:stretch/>
        </p:blipFill>
        <p:spPr>
          <a:xfrm>
            <a:off x="4491285" y="3168494"/>
            <a:ext cx="1593788" cy="307159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9" name="right-arrowheads_44810">
            <a:extLst>
              <a:ext uri="{FF2B5EF4-FFF2-40B4-BE49-F238E27FC236}">
                <a16:creationId xmlns:a16="http://schemas.microsoft.com/office/drawing/2014/main" xmlns="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xmlns="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xmlns="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:a16="http://schemas.microsoft.com/office/drawing/2014/main" xmlns="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A7C38575-11C0-4B54-B8A5-F99A0DD5CEE4}"/>
              </a:ext>
            </a:extLst>
          </p:cNvPr>
          <p:cNvSpPr txBox="1"/>
          <p:nvPr/>
        </p:nvSpPr>
        <p:spPr>
          <a:xfrm>
            <a:off x="744239" y="210888"/>
            <a:ext cx="5270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新生预报到流程 </a:t>
            </a:r>
            <a:r>
              <a:rPr lang="en-US" altLang="zh-CN" sz="2400" b="1" dirty="0"/>
              <a:t>—— </a:t>
            </a:r>
            <a:r>
              <a:rPr lang="zh-CN" altLang="en-US" sz="2400" b="1" dirty="0"/>
              <a:t>绑定企业号</a:t>
            </a:r>
          </a:p>
        </p:txBody>
      </p:sp>
      <p:pic>
        <p:nvPicPr>
          <p:cNvPr id="19" name="图片 18" descr="http://news.upc.edu.cn/__local/7/99/E2/A5475D0DA26B4CC37A9FD163D73_EBA2E474_C90B.png">
            <a:extLst>
              <a:ext uri="{FF2B5EF4-FFF2-40B4-BE49-F238E27FC236}">
                <a16:creationId xmlns:a16="http://schemas.microsoft.com/office/drawing/2014/main" xmlns="" id="{9D16ACF6-CB34-4F99-BD0E-73EA0E0672BD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825" y="3398561"/>
            <a:ext cx="2652426" cy="2605201"/>
          </a:xfrm>
          <a:prstGeom prst="rect">
            <a:avLst/>
          </a:prstGeom>
          <a:noFill/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0" name="组合 9">
            <a:extLst>
              <a:ext uri="{FF2B5EF4-FFF2-40B4-BE49-F238E27FC236}">
                <a16:creationId xmlns:a16="http://schemas.microsoft.com/office/drawing/2014/main" xmlns="" id="{A352F9B5-D343-46CE-B5AC-42611512AD18}"/>
              </a:ext>
            </a:extLst>
          </p:cNvPr>
          <p:cNvGrpSpPr/>
          <p:nvPr/>
        </p:nvGrpSpPr>
        <p:grpSpPr>
          <a:xfrm>
            <a:off x="450974" y="1115995"/>
            <a:ext cx="3381270" cy="1517545"/>
            <a:chOff x="572894" y="1200313"/>
            <a:chExt cx="3381270" cy="1517545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EE783005-76B3-403A-AE4C-846320248E1F}"/>
                </a:ext>
              </a:extLst>
            </p:cNvPr>
            <p:cNvSpPr/>
            <p:nvPr/>
          </p:nvSpPr>
          <p:spPr>
            <a:xfrm>
              <a:off x="1152657" y="1406501"/>
              <a:ext cx="2801507" cy="12894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en-US" dirty="0"/>
                <a:t>用微信识别下方二维码，关注“中国石油大学（华东）”企业号。</a:t>
              </a:r>
            </a:p>
          </p:txBody>
        </p:sp>
        <p:sp>
          <p:nvSpPr>
            <p:cNvPr id="25" name="矩形: 圆角 24">
              <a:extLst>
                <a:ext uri="{FF2B5EF4-FFF2-40B4-BE49-F238E27FC236}">
                  <a16:creationId xmlns:a16="http://schemas.microsoft.com/office/drawing/2014/main" xmlns="" id="{EB584D29-CB91-4D35-9CEB-5783E42B15EA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椭圆 3">
              <a:extLst>
                <a:ext uri="{FF2B5EF4-FFF2-40B4-BE49-F238E27FC236}">
                  <a16:creationId xmlns:a16="http://schemas.microsoft.com/office/drawing/2014/main" xmlns="" id="{E310D714-6583-4285-A54F-24B63ECE91B2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xmlns="" id="{AF796935-3639-45B8-A6E2-4337432822DA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xmlns="" id="{6FFB69B9-92F0-4B72-A28C-195363936783}"/>
              </a:ext>
            </a:extLst>
          </p:cNvPr>
          <p:cNvGrpSpPr/>
          <p:nvPr/>
        </p:nvGrpSpPr>
        <p:grpSpPr>
          <a:xfrm>
            <a:off x="4390245" y="1115995"/>
            <a:ext cx="3381270" cy="1517545"/>
            <a:chOff x="572894" y="1200313"/>
            <a:chExt cx="3381270" cy="1517545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xmlns="" id="{906129C9-8956-47F6-843E-F43B710108B4}"/>
                </a:ext>
              </a:extLst>
            </p:cNvPr>
            <p:cNvSpPr/>
            <p:nvPr/>
          </p:nvSpPr>
          <p:spPr>
            <a:xfrm>
              <a:off x="1152657" y="1406501"/>
              <a:ext cx="2801507" cy="12894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en-US" dirty="0"/>
                <a:t>进入企业号界面后点击“</a:t>
              </a:r>
              <a:r>
                <a:rPr lang="zh-CN" altLang="en-US" b="1" dirty="0">
                  <a:solidFill>
                    <a:srgbClr val="FF0000"/>
                  </a:solidFill>
                </a:rPr>
                <a:t>石大小助手</a:t>
              </a:r>
              <a:r>
                <a:rPr lang="zh-CN" altLang="en-US" dirty="0"/>
                <a:t>“，然后点击身份认证。</a:t>
              </a:r>
            </a:p>
          </p:txBody>
        </p:sp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xmlns="" id="{F2F6AB84-F25A-4C04-8D04-FBF4770055BF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椭圆 28">
              <a:extLst>
                <a:ext uri="{FF2B5EF4-FFF2-40B4-BE49-F238E27FC236}">
                  <a16:creationId xmlns:a16="http://schemas.microsoft.com/office/drawing/2014/main" xmlns="" id="{6DAB5E71-E5B4-4401-A95C-02E838773662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xmlns="" id="{78570FE5-7675-4BC6-8E97-A8921DB05277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xmlns="" id="{6E360CB0-899C-4269-ADCC-BB08AB02BB95}"/>
              </a:ext>
            </a:extLst>
          </p:cNvPr>
          <p:cNvGrpSpPr/>
          <p:nvPr/>
        </p:nvGrpSpPr>
        <p:grpSpPr>
          <a:xfrm>
            <a:off x="8329517" y="1115995"/>
            <a:ext cx="3381270" cy="1517545"/>
            <a:chOff x="572894" y="1200313"/>
            <a:chExt cx="3381270" cy="1517545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xmlns="" id="{DB270568-6FAB-4E6F-8F1C-025C1E1D8B7C}"/>
                </a:ext>
              </a:extLst>
            </p:cNvPr>
            <p:cNvSpPr/>
            <p:nvPr/>
          </p:nvSpPr>
          <p:spPr>
            <a:xfrm>
              <a:off x="1152657" y="1406501"/>
              <a:ext cx="2801507" cy="12894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dirty="0"/>
                <a:t>第一步认证：账号为</a:t>
              </a:r>
              <a:r>
                <a:rPr lang="zh-CN" altLang="en-US" b="1" dirty="0">
                  <a:solidFill>
                    <a:srgbClr val="FF0000"/>
                  </a:solidFill>
                </a:rPr>
                <a:t>学号</a:t>
              </a:r>
              <a:r>
                <a:rPr lang="zh-CN" altLang="en-US" dirty="0"/>
                <a:t>，初始密码为</a:t>
              </a:r>
              <a:r>
                <a:rPr lang="zh-CN" altLang="en-US" b="1" dirty="0">
                  <a:solidFill>
                    <a:srgbClr val="FF0000"/>
                  </a:solidFill>
                </a:rPr>
                <a:t>身份证号后六位数字</a:t>
              </a:r>
              <a:r>
                <a:rPr lang="zh-CN" altLang="en-US" dirty="0"/>
                <a:t>，点击验证。</a:t>
              </a:r>
            </a:p>
          </p:txBody>
        </p:sp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xmlns="" id="{924937A4-2759-490A-8605-747990EA7980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椭圆 33">
              <a:extLst>
                <a:ext uri="{FF2B5EF4-FFF2-40B4-BE49-F238E27FC236}">
                  <a16:creationId xmlns:a16="http://schemas.microsoft.com/office/drawing/2014/main" xmlns="" id="{5BC8A504-D1A6-4A90-8881-109A8F6EE688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xmlns="" id="{C2D47EB3-BF40-4697-A8C4-81B556B0F140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36" name="图片 35" descr="http://news.upc.edu.cn/__local/6/82/A5/EA576FCF1AC66C52E9F8261FCDD_71F352D7_277D0.png">
            <a:extLst>
              <a:ext uri="{FF2B5EF4-FFF2-40B4-BE49-F238E27FC236}">
                <a16:creationId xmlns:a16="http://schemas.microsoft.com/office/drawing/2014/main" xmlns="" id="{94DEA47D-8A61-4D8B-AA37-53DECDB66AD2}"/>
              </a:ext>
            </a:extLst>
          </p:cNvPr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92"/>
          <a:stretch/>
        </p:blipFill>
        <p:spPr bwMode="auto">
          <a:xfrm>
            <a:off x="6496455" y="3168494"/>
            <a:ext cx="1593182" cy="307159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矩形 17">
            <a:extLst>
              <a:ext uri="{FF2B5EF4-FFF2-40B4-BE49-F238E27FC236}">
                <a16:creationId xmlns:a16="http://schemas.microsoft.com/office/drawing/2014/main" xmlns="" id="{F8F7DD64-9C38-4919-BB9C-0779A8CEE2FC}"/>
              </a:ext>
            </a:extLst>
          </p:cNvPr>
          <p:cNvSpPr/>
          <p:nvPr/>
        </p:nvSpPr>
        <p:spPr>
          <a:xfrm>
            <a:off x="4718914" y="3679412"/>
            <a:ext cx="550135" cy="23368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箭头: V 形 37">
            <a:extLst>
              <a:ext uri="{FF2B5EF4-FFF2-40B4-BE49-F238E27FC236}">
                <a16:creationId xmlns:a16="http://schemas.microsoft.com/office/drawing/2014/main" xmlns="" id="{DF019047-2CE8-43F2-AE62-F5C95E7E86CA}"/>
              </a:ext>
            </a:extLst>
          </p:cNvPr>
          <p:cNvSpPr/>
          <p:nvPr/>
        </p:nvSpPr>
        <p:spPr>
          <a:xfrm>
            <a:off x="6164218" y="4596834"/>
            <a:ext cx="294017" cy="294017"/>
          </a:xfrm>
          <a:prstGeom prst="chevron">
            <a:avLst/>
          </a:prstGeom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42" name="直接箭头连接符 41">
            <a:extLst>
              <a:ext uri="{FF2B5EF4-FFF2-40B4-BE49-F238E27FC236}">
                <a16:creationId xmlns:a16="http://schemas.microsoft.com/office/drawing/2014/main" xmlns="" id="{69D9EBF4-36E5-4BE2-AE78-C9856AF210F3}"/>
              </a:ext>
            </a:extLst>
          </p:cNvPr>
          <p:cNvCxnSpPr>
            <a:cxnSpLocks/>
          </p:cNvCxnSpPr>
          <p:nvPr/>
        </p:nvCxnSpPr>
        <p:spPr>
          <a:xfrm flipH="1" flipV="1">
            <a:off x="5065198" y="3958505"/>
            <a:ext cx="230678" cy="41330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图片 44">
            <a:extLst>
              <a:ext uri="{FF2B5EF4-FFF2-40B4-BE49-F238E27FC236}">
                <a16:creationId xmlns:a16="http://schemas.microsoft.com/office/drawing/2014/main" xmlns="" id="{69B2B237-BCBB-4D10-9B7A-0384B21C540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850" b="5477"/>
          <a:stretch/>
        </p:blipFill>
        <p:spPr>
          <a:xfrm>
            <a:off x="9382627" y="3168494"/>
            <a:ext cx="1593182" cy="30653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8" name="直接箭头连接符 47">
            <a:extLst>
              <a:ext uri="{FF2B5EF4-FFF2-40B4-BE49-F238E27FC236}">
                <a16:creationId xmlns:a16="http://schemas.microsoft.com/office/drawing/2014/main" xmlns="" id="{3AE417AF-48E2-4105-8587-D5786809C87F}"/>
              </a:ext>
            </a:extLst>
          </p:cNvPr>
          <p:cNvCxnSpPr>
            <a:cxnSpLocks/>
          </p:cNvCxnSpPr>
          <p:nvPr/>
        </p:nvCxnSpPr>
        <p:spPr>
          <a:xfrm flipH="1">
            <a:off x="10008113" y="4531955"/>
            <a:ext cx="373162" cy="12661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箭头连接符 49">
            <a:extLst>
              <a:ext uri="{FF2B5EF4-FFF2-40B4-BE49-F238E27FC236}">
                <a16:creationId xmlns:a16="http://schemas.microsoft.com/office/drawing/2014/main" xmlns="" id="{B5AC091F-E7B1-4F2A-AD05-1E341008A495}"/>
              </a:ext>
            </a:extLst>
          </p:cNvPr>
          <p:cNvCxnSpPr>
            <a:cxnSpLocks/>
          </p:cNvCxnSpPr>
          <p:nvPr/>
        </p:nvCxnSpPr>
        <p:spPr>
          <a:xfrm flipH="1" flipV="1">
            <a:off x="9885294" y="4816443"/>
            <a:ext cx="213746" cy="49177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>
            <a:extLst>
              <a:ext uri="{FF2B5EF4-FFF2-40B4-BE49-F238E27FC236}">
                <a16:creationId xmlns:a16="http://schemas.microsoft.com/office/drawing/2014/main" xmlns="" id="{3DF9C6E9-79A1-459A-A743-13825ADBB089}"/>
              </a:ext>
            </a:extLst>
          </p:cNvPr>
          <p:cNvSpPr txBox="1"/>
          <p:nvPr/>
        </p:nvSpPr>
        <p:spPr>
          <a:xfrm>
            <a:off x="10381275" y="4400269"/>
            <a:ext cx="7281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FF0000"/>
                </a:solidFill>
              </a:rPr>
              <a:t>学号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xmlns="" id="{ABFC1C3F-AC4F-4EB7-80C7-25EECE9EF0C2}"/>
              </a:ext>
            </a:extLst>
          </p:cNvPr>
          <p:cNvSpPr txBox="1"/>
          <p:nvPr/>
        </p:nvSpPr>
        <p:spPr>
          <a:xfrm>
            <a:off x="9953018" y="5340137"/>
            <a:ext cx="95926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FF0000"/>
                </a:solidFill>
              </a:rPr>
              <a:t>身份证号后六位数字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xmlns="" id="{F2FE4896-898A-4DA3-A6E7-4FE32788FAF6}"/>
              </a:ext>
            </a:extLst>
          </p:cNvPr>
          <p:cNvSpPr txBox="1"/>
          <p:nvPr/>
        </p:nvSpPr>
        <p:spPr>
          <a:xfrm>
            <a:off x="5139797" y="4400269"/>
            <a:ext cx="7281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FF0000"/>
                </a:solidFill>
              </a:rPr>
              <a:t>点这里</a:t>
            </a:r>
          </a:p>
        </p:txBody>
      </p: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xmlns="" id="{05B31BC6-8C42-4F5D-A1A9-DC72734DCE14}"/>
              </a:ext>
            </a:extLst>
          </p:cNvPr>
          <p:cNvCxnSpPr/>
          <p:nvPr/>
        </p:nvCxnSpPr>
        <p:spPr>
          <a:xfrm>
            <a:off x="8732875" y="3049474"/>
            <a:ext cx="0" cy="3388736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xmlns="" id="{F5C5717E-9D09-471B-B4B3-5CE2E19AD9DC}"/>
              </a:ext>
            </a:extLst>
          </p:cNvPr>
          <p:cNvCxnSpPr/>
          <p:nvPr/>
        </p:nvCxnSpPr>
        <p:spPr>
          <a:xfrm>
            <a:off x="4015562" y="3049474"/>
            <a:ext cx="0" cy="3388736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759206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矩形 40">
            <a:extLst>
              <a:ext uri="{FF2B5EF4-FFF2-40B4-BE49-F238E27FC236}">
                <a16:creationId xmlns:a16="http://schemas.microsoft.com/office/drawing/2014/main" xmlns="" id="{554FA572-64A6-41C8-B102-A8A38F94C7FF}"/>
              </a:ext>
            </a:extLst>
          </p:cNvPr>
          <p:cNvSpPr/>
          <p:nvPr/>
        </p:nvSpPr>
        <p:spPr>
          <a:xfrm>
            <a:off x="0" y="2812285"/>
            <a:ext cx="12191999" cy="35634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xmlns="" id="{DF9C8E9D-B273-412D-9C8F-A554FDD6BF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889"/>
          <a:stretch/>
        </p:blipFill>
        <p:spPr>
          <a:xfrm>
            <a:off x="6271169" y="3022417"/>
            <a:ext cx="1568622" cy="317802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9" name="right-arrowheads_44810">
            <a:extLst>
              <a:ext uri="{FF2B5EF4-FFF2-40B4-BE49-F238E27FC236}">
                <a16:creationId xmlns:a16="http://schemas.microsoft.com/office/drawing/2014/main" xmlns="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xmlns="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xmlns="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:a16="http://schemas.microsoft.com/office/drawing/2014/main" xmlns="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A7C38575-11C0-4B54-B8A5-F99A0DD5CEE4}"/>
              </a:ext>
            </a:extLst>
          </p:cNvPr>
          <p:cNvSpPr txBox="1"/>
          <p:nvPr/>
        </p:nvSpPr>
        <p:spPr>
          <a:xfrm>
            <a:off x="744239" y="210888"/>
            <a:ext cx="5270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新生预报到流程 </a:t>
            </a:r>
            <a:r>
              <a:rPr lang="en-US" altLang="zh-CN" sz="2400" b="1" dirty="0"/>
              <a:t>—— </a:t>
            </a:r>
            <a:r>
              <a:rPr lang="zh-CN" altLang="en-US" sz="2400" b="1" dirty="0"/>
              <a:t>绑定企业号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xmlns="" id="{A352F9B5-D343-46CE-B5AC-42611512AD18}"/>
              </a:ext>
            </a:extLst>
          </p:cNvPr>
          <p:cNvGrpSpPr/>
          <p:nvPr/>
        </p:nvGrpSpPr>
        <p:grpSpPr>
          <a:xfrm>
            <a:off x="1162174" y="1087407"/>
            <a:ext cx="3381270" cy="1517545"/>
            <a:chOff x="572894" y="1200313"/>
            <a:chExt cx="3381270" cy="1517545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xmlns="" id="{EE783005-76B3-403A-AE4C-846320248E1F}"/>
                </a:ext>
              </a:extLst>
            </p:cNvPr>
            <p:cNvSpPr/>
            <p:nvPr/>
          </p:nvSpPr>
          <p:spPr>
            <a:xfrm>
              <a:off x="1152657" y="1406501"/>
              <a:ext cx="2801507" cy="12894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en-US" dirty="0"/>
                <a:t>第二步认证：填写</a:t>
              </a:r>
              <a:r>
                <a:rPr lang="zh-CN" altLang="en-US" b="1" dirty="0">
                  <a:solidFill>
                    <a:srgbClr val="FF0000"/>
                  </a:solidFill>
                </a:rPr>
                <a:t>微信绑定的手机号</a:t>
              </a:r>
              <a:r>
                <a:rPr lang="zh-CN" altLang="en-US" dirty="0"/>
                <a:t>（在微信设置</a:t>
              </a:r>
              <a:r>
                <a:rPr lang="en-US" altLang="zh-CN" dirty="0"/>
                <a:t>-&gt;</a:t>
              </a:r>
              <a:r>
                <a:rPr lang="zh-CN" altLang="en-US" dirty="0"/>
                <a:t>账号与安全中查看）。</a:t>
              </a:r>
            </a:p>
          </p:txBody>
        </p:sp>
        <p:sp>
          <p:nvSpPr>
            <p:cNvPr id="25" name="矩形: 圆角 24">
              <a:extLst>
                <a:ext uri="{FF2B5EF4-FFF2-40B4-BE49-F238E27FC236}">
                  <a16:creationId xmlns:a16="http://schemas.microsoft.com/office/drawing/2014/main" xmlns="" id="{EB584D29-CB91-4D35-9CEB-5783E42B15EA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椭圆 3">
              <a:extLst>
                <a:ext uri="{FF2B5EF4-FFF2-40B4-BE49-F238E27FC236}">
                  <a16:creationId xmlns:a16="http://schemas.microsoft.com/office/drawing/2014/main" xmlns="" id="{E310D714-6583-4285-A54F-24B63ECE91B2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xmlns="" id="{AF796935-3639-45B8-A6E2-4337432822DA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xmlns="" id="{6FFB69B9-92F0-4B72-A28C-195363936783}"/>
              </a:ext>
            </a:extLst>
          </p:cNvPr>
          <p:cNvGrpSpPr/>
          <p:nvPr/>
        </p:nvGrpSpPr>
        <p:grpSpPr>
          <a:xfrm>
            <a:off x="5751685" y="1046767"/>
            <a:ext cx="4672475" cy="1517545"/>
            <a:chOff x="572894" y="1200313"/>
            <a:chExt cx="4672475" cy="1517545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xmlns="" id="{906129C9-8956-47F6-843E-F43B710108B4}"/>
                </a:ext>
              </a:extLst>
            </p:cNvPr>
            <p:cNvSpPr/>
            <p:nvPr/>
          </p:nvSpPr>
          <p:spPr>
            <a:xfrm>
              <a:off x="1152657" y="1406501"/>
              <a:ext cx="4092712" cy="12894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en-US" dirty="0"/>
                <a:t>完成身份认证后，可以在“</a:t>
              </a:r>
              <a:r>
                <a:rPr lang="zh-CN" altLang="en-US" b="1" dirty="0">
                  <a:solidFill>
                    <a:srgbClr val="FF0000"/>
                  </a:solidFill>
                </a:rPr>
                <a:t>微信</a:t>
              </a:r>
              <a:r>
                <a:rPr lang="en-US" altLang="zh-CN" b="1" dirty="0">
                  <a:solidFill>
                    <a:srgbClr val="FF0000"/>
                  </a:solidFill>
                </a:rPr>
                <a:t>-</a:t>
              </a:r>
              <a:r>
                <a:rPr lang="zh-CN" altLang="en-US" b="1" dirty="0">
                  <a:solidFill>
                    <a:srgbClr val="FF0000"/>
                  </a:solidFill>
                </a:rPr>
                <a:t>通讯录</a:t>
              </a:r>
              <a:r>
                <a:rPr lang="en-US" altLang="zh-CN" b="1" dirty="0">
                  <a:solidFill>
                    <a:srgbClr val="FF0000"/>
                  </a:solidFill>
                </a:rPr>
                <a:t>-</a:t>
              </a:r>
              <a:r>
                <a:rPr lang="zh-CN" altLang="en-US" b="1" dirty="0">
                  <a:solidFill>
                    <a:srgbClr val="FF0000"/>
                  </a:solidFill>
                </a:rPr>
                <a:t>我的企业</a:t>
              </a:r>
              <a:r>
                <a:rPr lang="zh-CN" altLang="en-US" dirty="0"/>
                <a:t>”中可查找并进入学校企业号“中国石油大学（华东）”。</a:t>
              </a:r>
            </a:p>
          </p:txBody>
        </p:sp>
        <p:sp>
          <p:nvSpPr>
            <p:cNvPr id="28" name="矩形: 圆角 27">
              <a:extLst>
                <a:ext uri="{FF2B5EF4-FFF2-40B4-BE49-F238E27FC236}">
                  <a16:creationId xmlns:a16="http://schemas.microsoft.com/office/drawing/2014/main" xmlns="" id="{F2F6AB84-F25A-4C04-8D04-FBF4770055BF}"/>
                </a:ext>
              </a:extLst>
            </p:cNvPr>
            <p:cNvSpPr/>
            <p:nvPr/>
          </p:nvSpPr>
          <p:spPr>
            <a:xfrm>
              <a:off x="891027" y="1428401"/>
              <a:ext cx="4354342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椭圆 28">
              <a:extLst>
                <a:ext uri="{FF2B5EF4-FFF2-40B4-BE49-F238E27FC236}">
                  <a16:creationId xmlns:a16="http://schemas.microsoft.com/office/drawing/2014/main" xmlns="" id="{6DAB5E71-E5B4-4401-A95C-02E838773662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xmlns="" id="{78570FE5-7675-4BC6-8E97-A8921DB05277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8" name="矩形 17">
            <a:extLst>
              <a:ext uri="{FF2B5EF4-FFF2-40B4-BE49-F238E27FC236}">
                <a16:creationId xmlns:a16="http://schemas.microsoft.com/office/drawing/2014/main" xmlns="" id="{F8F7DD64-9C38-4919-BB9C-0779A8CEE2FC}"/>
              </a:ext>
            </a:extLst>
          </p:cNvPr>
          <p:cNvSpPr/>
          <p:nvPr/>
        </p:nvSpPr>
        <p:spPr>
          <a:xfrm>
            <a:off x="6661862" y="5972879"/>
            <a:ext cx="362010" cy="21731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箭头: V 形 37">
            <a:extLst>
              <a:ext uri="{FF2B5EF4-FFF2-40B4-BE49-F238E27FC236}">
                <a16:creationId xmlns:a16="http://schemas.microsoft.com/office/drawing/2014/main" xmlns="" id="{DF019047-2CE8-43F2-AE62-F5C95E7E86CA}"/>
              </a:ext>
            </a:extLst>
          </p:cNvPr>
          <p:cNvSpPr/>
          <p:nvPr/>
        </p:nvSpPr>
        <p:spPr>
          <a:xfrm>
            <a:off x="8110452" y="4438213"/>
            <a:ext cx="346427" cy="346427"/>
          </a:xfrm>
          <a:prstGeom prst="chevron">
            <a:avLst/>
          </a:prstGeom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42" name="直接箭头连接符 41">
            <a:extLst>
              <a:ext uri="{FF2B5EF4-FFF2-40B4-BE49-F238E27FC236}">
                <a16:creationId xmlns:a16="http://schemas.microsoft.com/office/drawing/2014/main" xmlns="" id="{69D9EBF4-36E5-4BE2-AE78-C9856AF210F3}"/>
              </a:ext>
            </a:extLst>
          </p:cNvPr>
          <p:cNvCxnSpPr>
            <a:cxnSpLocks/>
          </p:cNvCxnSpPr>
          <p:nvPr/>
        </p:nvCxnSpPr>
        <p:spPr>
          <a:xfrm flipH="1">
            <a:off x="7021863" y="5564886"/>
            <a:ext cx="236208" cy="38164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>
            <a:extLst>
              <a:ext uri="{FF2B5EF4-FFF2-40B4-BE49-F238E27FC236}">
                <a16:creationId xmlns:a16="http://schemas.microsoft.com/office/drawing/2014/main" xmlns="" id="{3DF9C6E9-79A1-459A-A743-13825ADBB089}"/>
              </a:ext>
            </a:extLst>
          </p:cNvPr>
          <p:cNvSpPr txBox="1"/>
          <p:nvPr/>
        </p:nvSpPr>
        <p:spPr>
          <a:xfrm>
            <a:off x="7021863" y="5310254"/>
            <a:ext cx="7281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FF0000"/>
                </a:solidFill>
              </a:rPr>
              <a:t>点这里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xmlns="" id="{17E4AC82-5284-44E3-8141-82B128C652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355" b="6492"/>
          <a:stretch/>
        </p:blipFill>
        <p:spPr>
          <a:xfrm>
            <a:off x="2187025" y="3007785"/>
            <a:ext cx="1649699" cy="319265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xmlns="" id="{66015847-CEF0-495F-BDBF-94DCBC1B8D7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582"/>
          <a:stretch/>
        </p:blipFill>
        <p:spPr>
          <a:xfrm>
            <a:off x="8686125" y="2997375"/>
            <a:ext cx="1580122" cy="320306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7" name="矩形 36">
            <a:extLst>
              <a:ext uri="{FF2B5EF4-FFF2-40B4-BE49-F238E27FC236}">
                <a16:creationId xmlns:a16="http://schemas.microsoft.com/office/drawing/2014/main" xmlns="" id="{112F1F4F-8E12-40B7-8758-96CEC83EBE28}"/>
              </a:ext>
            </a:extLst>
          </p:cNvPr>
          <p:cNvSpPr/>
          <p:nvPr/>
        </p:nvSpPr>
        <p:spPr>
          <a:xfrm>
            <a:off x="8729600" y="4077750"/>
            <a:ext cx="786810" cy="20841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xmlns="" id="{584B7331-7DB0-4508-9E66-D2C17ACF94C1}"/>
              </a:ext>
            </a:extLst>
          </p:cNvPr>
          <p:cNvSpPr txBox="1"/>
          <p:nvPr/>
        </p:nvSpPr>
        <p:spPr>
          <a:xfrm>
            <a:off x="9580321" y="3427098"/>
            <a:ext cx="7281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FF0000"/>
                </a:solidFill>
              </a:rPr>
              <a:t>点这里</a:t>
            </a:r>
          </a:p>
        </p:txBody>
      </p:sp>
      <p:cxnSp>
        <p:nvCxnSpPr>
          <p:cNvPr id="46" name="直接箭头连接符 45">
            <a:extLst>
              <a:ext uri="{FF2B5EF4-FFF2-40B4-BE49-F238E27FC236}">
                <a16:creationId xmlns:a16="http://schemas.microsoft.com/office/drawing/2014/main" xmlns="" id="{9B41C32C-6C41-4054-BC87-F3797A4F6619}"/>
              </a:ext>
            </a:extLst>
          </p:cNvPr>
          <p:cNvCxnSpPr>
            <a:cxnSpLocks/>
          </p:cNvCxnSpPr>
          <p:nvPr/>
        </p:nvCxnSpPr>
        <p:spPr>
          <a:xfrm flipH="1">
            <a:off x="9462217" y="3659276"/>
            <a:ext cx="236208" cy="38164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xmlns="" id="{A6BF3810-BFC7-411D-8903-2CBE768F9004}"/>
              </a:ext>
            </a:extLst>
          </p:cNvPr>
          <p:cNvCxnSpPr/>
          <p:nvPr/>
        </p:nvCxnSpPr>
        <p:spPr>
          <a:xfrm>
            <a:off x="5068186" y="2889985"/>
            <a:ext cx="0" cy="3388736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3902722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矩形 72">
            <a:extLst>
              <a:ext uri="{FF2B5EF4-FFF2-40B4-BE49-F238E27FC236}">
                <a16:creationId xmlns:a16="http://schemas.microsoft.com/office/drawing/2014/main" xmlns="" id="{DC3A4D70-F21F-45EF-B49D-38BAF856E2F4}"/>
              </a:ext>
            </a:extLst>
          </p:cNvPr>
          <p:cNvSpPr/>
          <p:nvPr/>
        </p:nvSpPr>
        <p:spPr>
          <a:xfrm>
            <a:off x="0" y="2812285"/>
            <a:ext cx="12191999" cy="35634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9" name="right-arrowheads_44810">
            <a:extLst>
              <a:ext uri="{FF2B5EF4-FFF2-40B4-BE49-F238E27FC236}">
                <a16:creationId xmlns:a16="http://schemas.microsoft.com/office/drawing/2014/main" xmlns="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xmlns="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xmlns="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:a16="http://schemas.microsoft.com/office/drawing/2014/main" xmlns="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A7C38575-11C0-4B54-B8A5-F99A0DD5CEE4}"/>
              </a:ext>
            </a:extLst>
          </p:cNvPr>
          <p:cNvSpPr txBox="1"/>
          <p:nvPr/>
        </p:nvSpPr>
        <p:spPr>
          <a:xfrm>
            <a:off x="744238" y="210888"/>
            <a:ext cx="81965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新生预报到流程 </a:t>
            </a:r>
            <a:r>
              <a:rPr lang="en-US" altLang="zh-CN" sz="2400" b="1" dirty="0"/>
              <a:t>—— </a:t>
            </a:r>
            <a:r>
              <a:rPr lang="zh-CN" altLang="en-US" sz="2400" b="1" dirty="0"/>
              <a:t>“易班迎新“信息采集及现场报到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xmlns="" id="{0DA8AF7B-0459-4B07-A271-39266A7AD189}"/>
              </a:ext>
            </a:extLst>
          </p:cNvPr>
          <p:cNvGrpSpPr/>
          <p:nvPr/>
        </p:nvGrpSpPr>
        <p:grpSpPr>
          <a:xfrm>
            <a:off x="450974" y="1084096"/>
            <a:ext cx="3381270" cy="1517545"/>
            <a:chOff x="572894" y="1200313"/>
            <a:chExt cx="3381270" cy="1517545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xmlns="" id="{BFF85CD1-90EE-4B42-AC77-470F22756DB0}"/>
                </a:ext>
              </a:extLst>
            </p:cNvPr>
            <p:cNvSpPr/>
            <p:nvPr/>
          </p:nvSpPr>
          <p:spPr>
            <a:xfrm>
              <a:off x="1152657" y="1406501"/>
              <a:ext cx="2801507" cy="12894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en-US" dirty="0"/>
                <a:t>点击进入企业号，向下滑动找到“</a:t>
              </a:r>
              <a:r>
                <a:rPr lang="zh-CN" altLang="en-US" b="1" dirty="0">
                  <a:solidFill>
                    <a:srgbClr val="FF0000"/>
                  </a:solidFill>
                </a:rPr>
                <a:t>易班迎新</a:t>
              </a:r>
              <a:r>
                <a:rPr lang="zh-CN" altLang="en-US" dirty="0"/>
                <a:t>”应用，点击进入。</a:t>
              </a:r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:a16="http://schemas.microsoft.com/office/drawing/2014/main" xmlns="" id="{FAC48B10-3E3F-4329-A340-72B34F638CF1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>
              <a:extLst>
                <a:ext uri="{FF2B5EF4-FFF2-40B4-BE49-F238E27FC236}">
                  <a16:creationId xmlns:a16="http://schemas.microsoft.com/office/drawing/2014/main" xmlns="" id="{3B5A4910-0DB7-4CF6-891A-6DCA6C014C89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xmlns="" id="{3C5E8394-58B6-4996-8C0A-81CCA8244566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xmlns="" id="{C4C16DBD-8290-4A6F-AD7B-F147F847912D}"/>
              </a:ext>
            </a:extLst>
          </p:cNvPr>
          <p:cNvGrpSpPr/>
          <p:nvPr/>
        </p:nvGrpSpPr>
        <p:grpSpPr>
          <a:xfrm>
            <a:off x="4390245" y="1084096"/>
            <a:ext cx="3381270" cy="1545016"/>
            <a:chOff x="572894" y="1200313"/>
            <a:chExt cx="3381270" cy="1545016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xmlns="" id="{F5FC4608-B322-4F36-911B-C2318106C58D}"/>
                </a:ext>
              </a:extLst>
            </p:cNvPr>
            <p:cNvSpPr/>
            <p:nvPr/>
          </p:nvSpPr>
          <p:spPr>
            <a:xfrm>
              <a:off x="1152657" y="1406501"/>
              <a:ext cx="2801507" cy="13388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en-US" dirty="0"/>
                <a:t>点击</a:t>
              </a:r>
              <a:r>
                <a:rPr lang="zh-CN" altLang="en-US" b="1" dirty="0">
                  <a:solidFill>
                    <a:srgbClr val="FF0000"/>
                  </a:solidFill>
                </a:rPr>
                <a:t>信息采集</a:t>
              </a:r>
              <a:r>
                <a:rPr lang="zh-CN" altLang="en-US" dirty="0"/>
                <a:t>，完善个人信息，查看学校提供的报到站点及到校路线信息</a:t>
              </a:r>
              <a:r>
                <a:rPr lang="zh-CN" altLang="en-US" dirty="0" smtClean="0"/>
                <a:t>。</a:t>
              </a:r>
              <a:endParaRPr lang="zh-CN" altLang="en-US" dirty="0"/>
            </a:p>
          </p:txBody>
        </p:sp>
        <p:sp>
          <p:nvSpPr>
            <p:cNvPr id="46" name="矩形: 圆角 45">
              <a:extLst>
                <a:ext uri="{FF2B5EF4-FFF2-40B4-BE49-F238E27FC236}">
                  <a16:creationId xmlns:a16="http://schemas.microsoft.com/office/drawing/2014/main" xmlns="" id="{72A96CED-79A4-4812-8CD5-6903BABFDC7B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椭圆 46">
              <a:extLst>
                <a:ext uri="{FF2B5EF4-FFF2-40B4-BE49-F238E27FC236}">
                  <a16:creationId xmlns:a16="http://schemas.microsoft.com/office/drawing/2014/main" xmlns="" id="{57D9DC57-C8C1-4FD5-AB14-091717F99E0D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xmlns="" id="{E445E67B-C2EF-4424-B180-8CBC5B6ABE1D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组合 48">
            <a:extLst>
              <a:ext uri="{FF2B5EF4-FFF2-40B4-BE49-F238E27FC236}">
                <a16:creationId xmlns:a16="http://schemas.microsoft.com/office/drawing/2014/main" xmlns="" id="{785F9203-D269-43B5-B71D-8E386F460242}"/>
              </a:ext>
            </a:extLst>
          </p:cNvPr>
          <p:cNvGrpSpPr/>
          <p:nvPr/>
        </p:nvGrpSpPr>
        <p:grpSpPr>
          <a:xfrm>
            <a:off x="8329517" y="1084096"/>
            <a:ext cx="3381270" cy="1517545"/>
            <a:chOff x="572894" y="1200313"/>
            <a:chExt cx="3381270" cy="1517545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xmlns="" id="{87CA2CA8-F51F-4E43-8A21-9A177575F1C8}"/>
                </a:ext>
              </a:extLst>
            </p:cNvPr>
            <p:cNvSpPr/>
            <p:nvPr/>
          </p:nvSpPr>
          <p:spPr>
            <a:xfrm>
              <a:off x="1152657" y="1406501"/>
              <a:ext cx="2801507" cy="12894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dirty="0"/>
                <a:t>到校报到时，需点击“</a:t>
              </a:r>
              <a:r>
                <a:rPr lang="zh-CN" altLang="en-US" b="1" dirty="0">
                  <a:solidFill>
                    <a:srgbClr val="FF0000"/>
                  </a:solidFill>
                </a:rPr>
                <a:t>我的二维码</a:t>
              </a:r>
              <a:r>
                <a:rPr lang="zh-CN" altLang="en-US" dirty="0"/>
                <a:t>”，现场工作人员扫码即可。</a:t>
              </a:r>
            </a:p>
          </p:txBody>
        </p:sp>
        <p:sp>
          <p:nvSpPr>
            <p:cNvPr id="51" name="矩形: 圆角 50">
              <a:extLst>
                <a:ext uri="{FF2B5EF4-FFF2-40B4-BE49-F238E27FC236}">
                  <a16:creationId xmlns:a16="http://schemas.microsoft.com/office/drawing/2014/main" xmlns="" id="{1077A491-06D9-427A-BC6D-6ACF1E6C33A9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2" name="椭圆 51">
              <a:extLst>
                <a:ext uri="{FF2B5EF4-FFF2-40B4-BE49-F238E27FC236}">
                  <a16:creationId xmlns:a16="http://schemas.microsoft.com/office/drawing/2014/main" xmlns="" id="{7C5BA0D8-7703-4538-B28E-07A0DF3BE444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xmlns="" id="{CC1F596D-14DB-4724-A27A-77A785DDCF13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64" name="图片 63">
            <a:extLst>
              <a:ext uri="{FF2B5EF4-FFF2-40B4-BE49-F238E27FC236}">
                <a16:creationId xmlns:a16="http://schemas.microsoft.com/office/drawing/2014/main" xmlns="" id="{4FC6D05F-10D4-4C9A-95C9-C535CA5C856C}"/>
              </a:ext>
            </a:extLst>
          </p:cNvPr>
          <p:cNvPicPr/>
          <p:nvPr/>
        </p:nvPicPr>
        <p:blipFill rotWithShape="1">
          <a:blip r:embed="rId6"/>
          <a:srcRect b="21714"/>
          <a:stretch/>
        </p:blipFill>
        <p:spPr>
          <a:xfrm>
            <a:off x="1016335" y="2979751"/>
            <a:ext cx="2727311" cy="325408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6" name="图片 65">
            <a:extLst>
              <a:ext uri="{FF2B5EF4-FFF2-40B4-BE49-F238E27FC236}">
                <a16:creationId xmlns:a16="http://schemas.microsoft.com/office/drawing/2014/main" xmlns="" id="{06DD97BA-328D-448A-A7CC-4190657A7566}"/>
              </a:ext>
            </a:extLst>
          </p:cNvPr>
          <p:cNvPicPr/>
          <p:nvPr/>
        </p:nvPicPr>
        <p:blipFill rotWithShape="1">
          <a:blip r:embed="rId7"/>
          <a:srcRect t="11528" b="35090"/>
          <a:stretch/>
        </p:blipFill>
        <p:spPr>
          <a:xfrm>
            <a:off x="8790393" y="2979751"/>
            <a:ext cx="2777650" cy="325408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67" name="直接箭头连接符 66">
            <a:extLst>
              <a:ext uri="{FF2B5EF4-FFF2-40B4-BE49-F238E27FC236}">
                <a16:creationId xmlns:a16="http://schemas.microsoft.com/office/drawing/2014/main" xmlns="" id="{E78AB269-69A5-4102-AB9B-7D29FAA01ED3}"/>
              </a:ext>
            </a:extLst>
          </p:cNvPr>
          <p:cNvCxnSpPr>
            <a:cxnSpLocks/>
          </p:cNvCxnSpPr>
          <p:nvPr/>
        </p:nvCxnSpPr>
        <p:spPr>
          <a:xfrm flipH="1">
            <a:off x="2223701" y="4930242"/>
            <a:ext cx="236208" cy="38164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文本框 67">
            <a:extLst>
              <a:ext uri="{FF2B5EF4-FFF2-40B4-BE49-F238E27FC236}">
                <a16:creationId xmlns:a16="http://schemas.microsoft.com/office/drawing/2014/main" xmlns="" id="{4472FCE6-E0D5-4B82-9C7F-739C72904512}"/>
              </a:ext>
            </a:extLst>
          </p:cNvPr>
          <p:cNvSpPr txBox="1"/>
          <p:nvPr/>
        </p:nvSpPr>
        <p:spPr>
          <a:xfrm>
            <a:off x="2376881" y="4703261"/>
            <a:ext cx="7281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FF0000"/>
                </a:solidFill>
              </a:rPr>
              <a:t>点这里</a:t>
            </a:r>
          </a:p>
        </p:txBody>
      </p:sp>
      <p:cxnSp>
        <p:nvCxnSpPr>
          <p:cNvPr id="71" name="直接箭头连接符 70">
            <a:extLst>
              <a:ext uri="{FF2B5EF4-FFF2-40B4-BE49-F238E27FC236}">
                <a16:creationId xmlns:a16="http://schemas.microsoft.com/office/drawing/2014/main" xmlns="" id="{731A6845-D3A0-41F4-9AD2-6EB9857A0F20}"/>
              </a:ext>
            </a:extLst>
          </p:cNvPr>
          <p:cNvCxnSpPr>
            <a:cxnSpLocks/>
          </p:cNvCxnSpPr>
          <p:nvPr/>
        </p:nvCxnSpPr>
        <p:spPr>
          <a:xfrm flipH="1" flipV="1">
            <a:off x="9975781" y="3879330"/>
            <a:ext cx="235019" cy="34987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文本框 71">
            <a:extLst>
              <a:ext uri="{FF2B5EF4-FFF2-40B4-BE49-F238E27FC236}">
                <a16:creationId xmlns:a16="http://schemas.microsoft.com/office/drawing/2014/main" xmlns="" id="{33ECF871-596E-42A4-BA6E-A3EB204D48DD}"/>
              </a:ext>
            </a:extLst>
          </p:cNvPr>
          <p:cNvSpPr txBox="1"/>
          <p:nvPr/>
        </p:nvSpPr>
        <p:spPr>
          <a:xfrm>
            <a:off x="10210800" y="4182207"/>
            <a:ext cx="7281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FF0000"/>
                </a:solidFill>
              </a:rPr>
              <a:t>点这里</a:t>
            </a:r>
          </a:p>
        </p:txBody>
      </p:sp>
      <p:cxnSp>
        <p:nvCxnSpPr>
          <p:cNvPr id="74" name="直接连接符 73">
            <a:extLst>
              <a:ext uri="{FF2B5EF4-FFF2-40B4-BE49-F238E27FC236}">
                <a16:creationId xmlns:a16="http://schemas.microsoft.com/office/drawing/2014/main" xmlns="" id="{4091244E-8C28-400B-AE15-2228C7A76EED}"/>
              </a:ext>
            </a:extLst>
          </p:cNvPr>
          <p:cNvCxnSpPr/>
          <p:nvPr/>
        </p:nvCxnSpPr>
        <p:spPr>
          <a:xfrm>
            <a:off x="8236688" y="2916482"/>
            <a:ext cx="0" cy="3388736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直接连接符 74">
            <a:extLst>
              <a:ext uri="{FF2B5EF4-FFF2-40B4-BE49-F238E27FC236}">
                <a16:creationId xmlns:a16="http://schemas.microsoft.com/office/drawing/2014/main" xmlns="" id="{0DFCDE95-E45A-4EC0-ABD7-D5AB3C4E4C41}"/>
              </a:ext>
            </a:extLst>
          </p:cNvPr>
          <p:cNvCxnSpPr/>
          <p:nvPr/>
        </p:nvCxnSpPr>
        <p:spPr>
          <a:xfrm>
            <a:off x="4326448" y="2916482"/>
            <a:ext cx="0" cy="3388736"/>
          </a:xfrm>
          <a:prstGeom prst="line">
            <a:avLst/>
          </a:prstGeom>
          <a:ln w="285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8"/>
          <a:srcRect r="844"/>
          <a:stretch/>
        </p:blipFill>
        <p:spPr>
          <a:xfrm>
            <a:off x="4877486" y="2983693"/>
            <a:ext cx="2838327" cy="325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807286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>
            <a:extLst>
              <a:ext uri="{FF2B5EF4-FFF2-40B4-BE49-F238E27FC236}">
                <a16:creationId xmlns:a16="http://schemas.microsoft.com/office/drawing/2014/main" xmlns="" id="{9CE8B302-6093-4B10-9B6B-55A0A34AB114}"/>
              </a:ext>
            </a:extLst>
          </p:cNvPr>
          <p:cNvGrpSpPr/>
          <p:nvPr/>
        </p:nvGrpSpPr>
        <p:grpSpPr>
          <a:xfrm>
            <a:off x="4827567" y="2328441"/>
            <a:ext cx="6083321" cy="771622"/>
            <a:chOff x="5000287" y="2550161"/>
            <a:chExt cx="6083321" cy="771622"/>
          </a:xfrm>
        </p:grpSpPr>
        <p:sp>
          <p:nvSpPr>
            <p:cNvPr id="9" name="iṡ1iḋe">
              <a:extLst>
                <a:ext uri="{FF2B5EF4-FFF2-40B4-BE49-F238E27FC236}">
                  <a16:creationId xmlns:a16="http://schemas.microsoft.com/office/drawing/2014/main" xmlns="" id="{A334DB0F-0CAE-4BC9-8829-B1D25ACD7982}"/>
                </a:ext>
              </a:extLst>
            </p:cNvPr>
            <p:cNvSpPr/>
            <p:nvPr/>
          </p:nvSpPr>
          <p:spPr bwMode="auto">
            <a:xfrm>
              <a:off x="5000287" y="2550161"/>
              <a:ext cx="888887" cy="766282"/>
            </a:xfrm>
            <a:prstGeom prst="hexagon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altLang="zh-CN" sz="1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íṡḷïďé">
              <a:extLst>
                <a:ext uri="{FF2B5EF4-FFF2-40B4-BE49-F238E27FC236}">
                  <a16:creationId xmlns:a16="http://schemas.microsoft.com/office/drawing/2014/main" xmlns="" id="{AFF44E4E-CDAC-47D1-8416-DC415FAF9219}"/>
                </a:ext>
              </a:extLst>
            </p:cNvPr>
            <p:cNvSpPr/>
            <p:nvPr/>
          </p:nvSpPr>
          <p:spPr bwMode="auto">
            <a:xfrm>
              <a:off x="6030202" y="2555501"/>
              <a:ext cx="5053406" cy="766282"/>
            </a:xfrm>
            <a:prstGeom prst="hexagon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200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</p:grpSp>
      <p:grpSp>
        <p:nvGrpSpPr>
          <p:cNvPr id="11" name="îSļiḍê">
            <a:extLst>
              <a:ext uri="{FF2B5EF4-FFF2-40B4-BE49-F238E27FC236}">
                <a16:creationId xmlns:a16="http://schemas.microsoft.com/office/drawing/2014/main" xmlns="" id="{66BB70E3-C66B-4746-A863-23844A42193E}"/>
              </a:ext>
            </a:extLst>
          </p:cNvPr>
          <p:cNvGrpSpPr/>
          <p:nvPr/>
        </p:nvGrpSpPr>
        <p:grpSpPr>
          <a:xfrm>
            <a:off x="1067752" y="1864072"/>
            <a:ext cx="2807020" cy="3129856"/>
            <a:chOff x="4693878" y="-802178"/>
            <a:chExt cx="2807022" cy="3129860"/>
          </a:xfrm>
        </p:grpSpPr>
        <p:sp>
          <p:nvSpPr>
            <p:cNvPr id="12" name="i$ļîďé">
              <a:extLst>
                <a:ext uri="{FF2B5EF4-FFF2-40B4-BE49-F238E27FC236}">
                  <a16:creationId xmlns:a16="http://schemas.microsoft.com/office/drawing/2014/main" xmlns="" id="{30C43BF9-23FF-4D62-A96A-7B9B7F9224D9}"/>
                </a:ext>
              </a:extLst>
            </p:cNvPr>
            <p:cNvSpPr/>
            <p:nvPr/>
          </p:nvSpPr>
          <p:spPr>
            <a:xfrm>
              <a:off x="4693878" y="-802178"/>
              <a:ext cx="2807022" cy="3129860"/>
            </a:xfrm>
            <a:custGeom>
              <a:avLst/>
              <a:gdLst>
                <a:gd name="connsiteX0" fmla="*/ 1124365 w 2248729"/>
                <a:gd name="connsiteY0" fmla="*/ 0 h 2507353"/>
                <a:gd name="connsiteX1" fmla="*/ 1257442 w 2248729"/>
                <a:gd name="connsiteY1" fmla="*/ 31576 h 2507353"/>
                <a:gd name="connsiteX2" fmla="*/ 2115652 w 2248729"/>
                <a:gd name="connsiteY2" fmla="*/ 527274 h 2507353"/>
                <a:gd name="connsiteX3" fmla="*/ 2248729 w 2248729"/>
                <a:gd name="connsiteY3" fmla="*/ 758148 h 2507353"/>
                <a:gd name="connsiteX4" fmla="*/ 2248729 w 2248729"/>
                <a:gd name="connsiteY4" fmla="*/ 1749546 h 2507353"/>
                <a:gd name="connsiteX5" fmla="*/ 2115652 w 2248729"/>
                <a:gd name="connsiteY5" fmla="*/ 1980419 h 2507353"/>
                <a:gd name="connsiteX6" fmla="*/ 1257442 w 2248729"/>
                <a:gd name="connsiteY6" fmla="*/ 2474760 h 2507353"/>
                <a:gd name="connsiteX7" fmla="*/ 991288 w 2248729"/>
                <a:gd name="connsiteY7" fmla="*/ 2474760 h 2507353"/>
                <a:gd name="connsiteX8" fmla="*/ 133077 w 2248729"/>
                <a:gd name="connsiteY8" fmla="*/ 1980419 h 2507353"/>
                <a:gd name="connsiteX9" fmla="*/ 0 w 2248729"/>
                <a:gd name="connsiteY9" fmla="*/ 1749546 h 2507353"/>
                <a:gd name="connsiteX10" fmla="*/ 0 w 2248729"/>
                <a:gd name="connsiteY10" fmla="*/ 758148 h 2507353"/>
                <a:gd name="connsiteX11" fmla="*/ 133077 w 2248729"/>
                <a:gd name="connsiteY11" fmla="*/ 527274 h 2507353"/>
                <a:gd name="connsiteX12" fmla="*/ 991288 w 2248729"/>
                <a:gd name="connsiteY12" fmla="*/ 31576 h 2507353"/>
                <a:gd name="connsiteX13" fmla="*/ 1124365 w 2248729"/>
                <a:gd name="connsiteY13" fmla="*/ 0 h 250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48729" h="2507353">
                  <a:moveTo>
                    <a:pt x="1124365" y="0"/>
                  </a:moveTo>
                  <a:cubicBezTo>
                    <a:pt x="1172571" y="0"/>
                    <a:pt x="1220778" y="10526"/>
                    <a:pt x="1257442" y="31576"/>
                  </a:cubicBezTo>
                  <a:cubicBezTo>
                    <a:pt x="2115652" y="527274"/>
                    <a:pt x="2115652" y="527274"/>
                    <a:pt x="2115652" y="527274"/>
                  </a:cubicBezTo>
                  <a:cubicBezTo>
                    <a:pt x="2188980" y="569375"/>
                    <a:pt x="2248729" y="672589"/>
                    <a:pt x="2248729" y="758148"/>
                  </a:cubicBezTo>
                  <a:cubicBezTo>
                    <a:pt x="2248729" y="1749546"/>
                    <a:pt x="2248729" y="1749546"/>
                    <a:pt x="2248729" y="1749546"/>
                  </a:cubicBezTo>
                  <a:cubicBezTo>
                    <a:pt x="2248729" y="1833746"/>
                    <a:pt x="2188980" y="1936960"/>
                    <a:pt x="2115652" y="1980419"/>
                  </a:cubicBezTo>
                  <a:cubicBezTo>
                    <a:pt x="1257442" y="2474760"/>
                    <a:pt x="1257442" y="2474760"/>
                    <a:pt x="1257442" y="2474760"/>
                  </a:cubicBezTo>
                  <a:cubicBezTo>
                    <a:pt x="1184114" y="2518218"/>
                    <a:pt x="1064616" y="2518218"/>
                    <a:pt x="991288" y="2474760"/>
                  </a:cubicBezTo>
                  <a:cubicBezTo>
                    <a:pt x="133077" y="1980419"/>
                    <a:pt x="133077" y="1980419"/>
                    <a:pt x="133077" y="1980419"/>
                  </a:cubicBezTo>
                  <a:cubicBezTo>
                    <a:pt x="59749" y="1936960"/>
                    <a:pt x="0" y="1833746"/>
                    <a:pt x="0" y="1749546"/>
                  </a:cubicBezTo>
                  <a:lnTo>
                    <a:pt x="0" y="758148"/>
                  </a:lnTo>
                  <a:cubicBezTo>
                    <a:pt x="0" y="672589"/>
                    <a:pt x="59749" y="569375"/>
                    <a:pt x="133077" y="527274"/>
                  </a:cubicBezTo>
                  <a:cubicBezTo>
                    <a:pt x="991288" y="31576"/>
                    <a:pt x="991288" y="31576"/>
                    <a:pt x="991288" y="31576"/>
                  </a:cubicBezTo>
                  <a:cubicBezTo>
                    <a:pt x="1027952" y="10526"/>
                    <a:pt x="1076158" y="0"/>
                    <a:pt x="1124365" y="0"/>
                  </a:cubicBezTo>
                  <a:close/>
                </a:path>
              </a:pathLst>
            </a:custGeom>
            <a:solidFill>
              <a:schemeClr val="tx2">
                <a:alpha val="8000"/>
              </a:schemeClr>
            </a:solidFill>
            <a:ln w="222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3" name="íŝḷíḓè">
              <a:extLst>
                <a:ext uri="{FF2B5EF4-FFF2-40B4-BE49-F238E27FC236}">
                  <a16:creationId xmlns:a16="http://schemas.microsoft.com/office/drawing/2014/main" xmlns="" id="{DDEE1471-F9FA-43FC-A6FF-81CFC3258E03}"/>
                </a:ext>
              </a:extLst>
            </p:cNvPr>
            <p:cNvSpPr/>
            <p:nvPr/>
          </p:nvSpPr>
          <p:spPr>
            <a:xfrm>
              <a:off x="5081623" y="-368288"/>
              <a:ext cx="2028752" cy="2262080"/>
            </a:xfrm>
            <a:custGeom>
              <a:avLst/>
              <a:gdLst>
                <a:gd name="connsiteX0" fmla="*/ 1124365 w 2248729"/>
                <a:gd name="connsiteY0" fmla="*/ 0 h 2507353"/>
                <a:gd name="connsiteX1" fmla="*/ 1257442 w 2248729"/>
                <a:gd name="connsiteY1" fmla="*/ 31576 h 2507353"/>
                <a:gd name="connsiteX2" fmla="*/ 2115652 w 2248729"/>
                <a:gd name="connsiteY2" fmla="*/ 527274 h 2507353"/>
                <a:gd name="connsiteX3" fmla="*/ 2248729 w 2248729"/>
                <a:gd name="connsiteY3" fmla="*/ 758148 h 2507353"/>
                <a:gd name="connsiteX4" fmla="*/ 2248729 w 2248729"/>
                <a:gd name="connsiteY4" fmla="*/ 1749546 h 2507353"/>
                <a:gd name="connsiteX5" fmla="*/ 2115652 w 2248729"/>
                <a:gd name="connsiteY5" fmla="*/ 1980419 h 2507353"/>
                <a:gd name="connsiteX6" fmla="*/ 1257442 w 2248729"/>
                <a:gd name="connsiteY6" fmla="*/ 2474760 h 2507353"/>
                <a:gd name="connsiteX7" fmla="*/ 991288 w 2248729"/>
                <a:gd name="connsiteY7" fmla="*/ 2474760 h 2507353"/>
                <a:gd name="connsiteX8" fmla="*/ 133077 w 2248729"/>
                <a:gd name="connsiteY8" fmla="*/ 1980419 h 2507353"/>
                <a:gd name="connsiteX9" fmla="*/ 0 w 2248729"/>
                <a:gd name="connsiteY9" fmla="*/ 1749546 h 2507353"/>
                <a:gd name="connsiteX10" fmla="*/ 0 w 2248729"/>
                <a:gd name="connsiteY10" fmla="*/ 758148 h 2507353"/>
                <a:gd name="connsiteX11" fmla="*/ 133077 w 2248729"/>
                <a:gd name="connsiteY11" fmla="*/ 527274 h 2507353"/>
                <a:gd name="connsiteX12" fmla="*/ 991288 w 2248729"/>
                <a:gd name="connsiteY12" fmla="*/ 31576 h 2507353"/>
                <a:gd name="connsiteX13" fmla="*/ 1124365 w 2248729"/>
                <a:gd name="connsiteY13" fmla="*/ 0 h 250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48729" h="2507353">
                  <a:moveTo>
                    <a:pt x="1124365" y="0"/>
                  </a:moveTo>
                  <a:cubicBezTo>
                    <a:pt x="1172571" y="0"/>
                    <a:pt x="1220778" y="10526"/>
                    <a:pt x="1257442" y="31576"/>
                  </a:cubicBezTo>
                  <a:cubicBezTo>
                    <a:pt x="2115652" y="527274"/>
                    <a:pt x="2115652" y="527274"/>
                    <a:pt x="2115652" y="527274"/>
                  </a:cubicBezTo>
                  <a:cubicBezTo>
                    <a:pt x="2188980" y="569375"/>
                    <a:pt x="2248729" y="672589"/>
                    <a:pt x="2248729" y="758148"/>
                  </a:cubicBezTo>
                  <a:cubicBezTo>
                    <a:pt x="2248729" y="1749546"/>
                    <a:pt x="2248729" y="1749546"/>
                    <a:pt x="2248729" y="1749546"/>
                  </a:cubicBezTo>
                  <a:cubicBezTo>
                    <a:pt x="2248729" y="1833746"/>
                    <a:pt x="2188980" y="1936960"/>
                    <a:pt x="2115652" y="1980419"/>
                  </a:cubicBezTo>
                  <a:cubicBezTo>
                    <a:pt x="1257442" y="2474760"/>
                    <a:pt x="1257442" y="2474760"/>
                    <a:pt x="1257442" y="2474760"/>
                  </a:cubicBezTo>
                  <a:cubicBezTo>
                    <a:pt x="1184114" y="2518218"/>
                    <a:pt x="1064616" y="2518218"/>
                    <a:pt x="991288" y="2474760"/>
                  </a:cubicBezTo>
                  <a:cubicBezTo>
                    <a:pt x="133077" y="1980419"/>
                    <a:pt x="133077" y="1980419"/>
                    <a:pt x="133077" y="1980419"/>
                  </a:cubicBezTo>
                  <a:cubicBezTo>
                    <a:pt x="59749" y="1936960"/>
                    <a:pt x="0" y="1833746"/>
                    <a:pt x="0" y="1749546"/>
                  </a:cubicBezTo>
                  <a:lnTo>
                    <a:pt x="0" y="758148"/>
                  </a:lnTo>
                  <a:cubicBezTo>
                    <a:pt x="0" y="672589"/>
                    <a:pt x="59749" y="569375"/>
                    <a:pt x="133077" y="527274"/>
                  </a:cubicBezTo>
                  <a:cubicBezTo>
                    <a:pt x="991288" y="31576"/>
                    <a:pt x="991288" y="31576"/>
                    <a:pt x="991288" y="31576"/>
                  </a:cubicBezTo>
                  <a:cubicBezTo>
                    <a:pt x="1027952" y="10526"/>
                    <a:pt x="1076158" y="0"/>
                    <a:pt x="1124365" y="0"/>
                  </a:cubicBezTo>
                  <a:close/>
                </a:path>
              </a:pathLst>
            </a:custGeom>
            <a:solidFill>
              <a:schemeClr val="bg1">
                <a:lumMod val="65000"/>
                <a:alpha val="19000"/>
              </a:schemeClr>
            </a:solidFill>
            <a:ln w="222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15" name="îsļîdé">
              <a:extLst>
                <a:ext uri="{FF2B5EF4-FFF2-40B4-BE49-F238E27FC236}">
                  <a16:creationId xmlns:a16="http://schemas.microsoft.com/office/drawing/2014/main" xmlns="" id="{82CF5553-6118-47D4-ADCE-AE4AC1F636DC}"/>
                </a:ext>
              </a:extLst>
            </p:cNvPr>
            <p:cNvSpPr/>
            <p:nvPr/>
          </p:nvSpPr>
          <p:spPr>
            <a:xfrm>
              <a:off x="5411924" y="0"/>
              <a:ext cx="1368152" cy="1525504"/>
            </a:xfrm>
            <a:custGeom>
              <a:avLst/>
              <a:gdLst>
                <a:gd name="connsiteX0" fmla="*/ 1124365 w 2248729"/>
                <a:gd name="connsiteY0" fmla="*/ 0 h 2507353"/>
                <a:gd name="connsiteX1" fmla="*/ 1257442 w 2248729"/>
                <a:gd name="connsiteY1" fmla="*/ 31576 h 2507353"/>
                <a:gd name="connsiteX2" fmla="*/ 2115652 w 2248729"/>
                <a:gd name="connsiteY2" fmla="*/ 527274 h 2507353"/>
                <a:gd name="connsiteX3" fmla="*/ 2248729 w 2248729"/>
                <a:gd name="connsiteY3" fmla="*/ 758148 h 2507353"/>
                <a:gd name="connsiteX4" fmla="*/ 2248729 w 2248729"/>
                <a:gd name="connsiteY4" fmla="*/ 1749546 h 2507353"/>
                <a:gd name="connsiteX5" fmla="*/ 2115652 w 2248729"/>
                <a:gd name="connsiteY5" fmla="*/ 1980419 h 2507353"/>
                <a:gd name="connsiteX6" fmla="*/ 1257442 w 2248729"/>
                <a:gd name="connsiteY6" fmla="*/ 2474760 h 2507353"/>
                <a:gd name="connsiteX7" fmla="*/ 991288 w 2248729"/>
                <a:gd name="connsiteY7" fmla="*/ 2474760 h 2507353"/>
                <a:gd name="connsiteX8" fmla="*/ 133077 w 2248729"/>
                <a:gd name="connsiteY8" fmla="*/ 1980419 h 2507353"/>
                <a:gd name="connsiteX9" fmla="*/ 0 w 2248729"/>
                <a:gd name="connsiteY9" fmla="*/ 1749546 h 2507353"/>
                <a:gd name="connsiteX10" fmla="*/ 0 w 2248729"/>
                <a:gd name="connsiteY10" fmla="*/ 758148 h 2507353"/>
                <a:gd name="connsiteX11" fmla="*/ 133077 w 2248729"/>
                <a:gd name="connsiteY11" fmla="*/ 527274 h 2507353"/>
                <a:gd name="connsiteX12" fmla="*/ 991288 w 2248729"/>
                <a:gd name="connsiteY12" fmla="*/ 31576 h 2507353"/>
                <a:gd name="connsiteX13" fmla="*/ 1124365 w 2248729"/>
                <a:gd name="connsiteY13" fmla="*/ 0 h 2507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48729" h="2507353">
                  <a:moveTo>
                    <a:pt x="1124365" y="0"/>
                  </a:moveTo>
                  <a:cubicBezTo>
                    <a:pt x="1172571" y="0"/>
                    <a:pt x="1220778" y="10526"/>
                    <a:pt x="1257442" y="31576"/>
                  </a:cubicBezTo>
                  <a:cubicBezTo>
                    <a:pt x="2115652" y="527274"/>
                    <a:pt x="2115652" y="527274"/>
                    <a:pt x="2115652" y="527274"/>
                  </a:cubicBezTo>
                  <a:cubicBezTo>
                    <a:pt x="2188980" y="569375"/>
                    <a:pt x="2248729" y="672589"/>
                    <a:pt x="2248729" y="758148"/>
                  </a:cubicBezTo>
                  <a:cubicBezTo>
                    <a:pt x="2248729" y="1749546"/>
                    <a:pt x="2248729" y="1749546"/>
                    <a:pt x="2248729" y="1749546"/>
                  </a:cubicBezTo>
                  <a:cubicBezTo>
                    <a:pt x="2248729" y="1833746"/>
                    <a:pt x="2188980" y="1936960"/>
                    <a:pt x="2115652" y="1980419"/>
                  </a:cubicBezTo>
                  <a:cubicBezTo>
                    <a:pt x="1257442" y="2474760"/>
                    <a:pt x="1257442" y="2474760"/>
                    <a:pt x="1257442" y="2474760"/>
                  </a:cubicBezTo>
                  <a:cubicBezTo>
                    <a:pt x="1184114" y="2518218"/>
                    <a:pt x="1064616" y="2518218"/>
                    <a:pt x="991288" y="2474760"/>
                  </a:cubicBezTo>
                  <a:cubicBezTo>
                    <a:pt x="133077" y="1980419"/>
                    <a:pt x="133077" y="1980419"/>
                    <a:pt x="133077" y="1980419"/>
                  </a:cubicBezTo>
                  <a:cubicBezTo>
                    <a:pt x="59749" y="1936960"/>
                    <a:pt x="0" y="1833746"/>
                    <a:pt x="0" y="1749546"/>
                  </a:cubicBezTo>
                  <a:lnTo>
                    <a:pt x="0" y="758148"/>
                  </a:lnTo>
                  <a:cubicBezTo>
                    <a:pt x="0" y="672589"/>
                    <a:pt x="59749" y="569375"/>
                    <a:pt x="133077" y="527274"/>
                  </a:cubicBezTo>
                  <a:cubicBezTo>
                    <a:pt x="991288" y="31576"/>
                    <a:pt x="991288" y="31576"/>
                    <a:pt x="991288" y="31576"/>
                  </a:cubicBezTo>
                  <a:cubicBezTo>
                    <a:pt x="1027952" y="10526"/>
                    <a:pt x="1076158" y="0"/>
                    <a:pt x="1124365" y="0"/>
                  </a:cubicBezTo>
                  <a:close/>
                </a:path>
              </a:pathLst>
            </a:custGeom>
            <a:solidFill>
              <a:schemeClr val="accent1"/>
            </a:solidFill>
            <a:ln w="222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US" altLang="zh-CN" sz="1600" dirty="0">
                <a:solidFill>
                  <a:schemeClr val="bg1"/>
                </a:solidFill>
              </a:endParaRPr>
            </a:p>
            <a:p>
              <a:pPr algn="ctr"/>
              <a:endParaRPr lang="en-US" altLang="zh-CN" sz="1600" dirty="0">
                <a:solidFill>
                  <a:schemeClr val="bg1"/>
                </a:solidFill>
              </a:endParaRPr>
            </a:p>
            <a:p>
              <a:pPr algn="ctr"/>
              <a:r>
                <a:rPr lang="en-US" altLang="zh-CN" sz="1600" dirty="0">
                  <a:solidFill>
                    <a:schemeClr val="bg1"/>
                  </a:solidFill>
                </a:rPr>
                <a:t>CONTENTS</a:t>
              </a:r>
            </a:p>
          </p:txBody>
        </p:sp>
        <p:sp>
          <p:nvSpPr>
            <p:cNvPr id="16" name="îṧľiḓe">
              <a:extLst>
                <a:ext uri="{FF2B5EF4-FFF2-40B4-BE49-F238E27FC236}">
                  <a16:creationId xmlns:a16="http://schemas.microsoft.com/office/drawing/2014/main" xmlns="" id="{00F7B734-3695-48C9-8622-E62BAF81E3FE}"/>
                </a:ext>
              </a:extLst>
            </p:cNvPr>
            <p:cNvSpPr/>
            <p:nvPr/>
          </p:nvSpPr>
          <p:spPr bwMode="auto">
            <a:xfrm>
              <a:off x="5880783" y="301468"/>
              <a:ext cx="430432" cy="430432"/>
            </a:xfrm>
            <a:custGeom>
              <a:avLst/>
              <a:gdLst>
                <a:gd name="connsiteX0" fmla="*/ 158750 w 508000"/>
                <a:gd name="connsiteY0" fmla="*/ 345281 h 508000"/>
                <a:gd name="connsiteX1" fmla="*/ 158750 w 508000"/>
                <a:gd name="connsiteY1" fmla="*/ 377031 h 508000"/>
                <a:gd name="connsiteX2" fmla="*/ 349250 w 508000"/>
                <a:gd name="connsiteY2" fmla="*/ 377031 h 508000"/>
                <a:gd name="connsiteX3" fmla="*/ 349250 w 508000"/>
                <a:gd name="connsiteY3" fmla="*/ 345281 h 508000"/>
                <a:gd name="connsiteX4" fmla="*/ 99219 w 508000"/>
                <a:gd name="connsiteY4" fmla="*/ 257969 h 508000"/>
                <a:gd name="connsiteX5" fmla="*/ 416719 w 508000"/>
                <a:gd name="connsiteY5" fmla="*/ 257969 h 508000"/>
                <a:gd name="connsiteX6" fmla="*/ 416719 w 508000"/>
                <a:gd name="connsiteY6" fmla="*/ 285750 h 508000"/>
                <a:gd name="connsiteX7" fmla="*/ 99219 w 508000"/>
                <a:gd name="connsiteY7" fmla="*/ 285750 h 508000"/>
                <a:gd name="connsiteX8" fmla="*/ 99219 w 508000"/>
                <a:gd name="connsiteY8" fmla="*/ 186531 h 508000"/>
                <a:gd name="connsiteX9" fmla="*/ 416719 w 508000"/>
                <a:gd name="connsiteY9" fmla="*/ 186531 h 508000"/>
                <a:gd name="connsiteX10" fmla="*/ 416719 w 508000"/>
                <a:gd name="connsiteY10" fmla="*/ 218281 h 508000"/>
                <a:gd name="connsiteX11" fmla="*/ 99219 w 508000"/>
                <a:gd name="connsiteY11" fmla="*/ 218281 h 508000"/>
                <a:gd name="connsiteX12" fmla="*/ 130969 w 508000"/>
                <a:gd name="connsiteY12" fmla="*/ 127000 h 508000"/>
                <a:gd name="connsiteX13" fmla="*/ 377032 w 508000"/>
                <a:gd name="connsiteY13" fmla="*/ 127000 h 508000"/>
                <a:gd name="connsiteX14" fmla="*/ 377032 w 508000"/>
                <a:gd name="connsiteY14" fmla="*/ 158750 h 508000"/>
                <a:gd name="connsiteX15" fmla="*/ 130969 w 508000"/>
                <a:gd name="connsiteY15" fmla="*/ 158750 h 508000"/>
                <a:gd name="connsiteX16" fmla="*/ 130969 w 508000"/>
                <a:gd name="connsiteY16" fmla="*/ 59531 h 508000"/>
                <a:gd name="connsiteX17" fmla="*/ 377032 w 508000"/>
                <a:gd name="connsiteY17" fmla="*/ 59531 h 508000"/>
                <a:gd name="connsiteX18" fmla="*/ 377032 w 508000"/>
                <a:gd name="connsiteY18" fmla="*/ 99219 h 508000"/>
                <a:gd name="connsiteX19" fmla="*/ 130969 w 508000"/>
                <a:gd name="connsiteY19" fmla="*/ 99219 h 508000"/>
                <a:gd name="connsiteX20" fmla="*/ 99219 w 508000"/>
                <a:gd name="connsiteY20" fmla="*/ 27781 h 508000"/>
                <a:gd name="connsiteX21" fmla="*/ 31750 w 508000"/>
                <a:gd name="connsiteY21" fmla="*/ 317500 h 508000"/>
                <a:gd name="connsiteX22" fmla="*/ 480219 w 508000"/>
                <a:gd name="connsiteY22" fmla="*/ 317500 h 508000"/>
                <a:gd name="connsiteX23" fmla="*/ 416719 w 508000"/>
                <a:gd name="connsiteY23" fmla="*/ 27781 h 508000"/>
                <a:gd name="connsiteX24" fmla="*/ 59531 w 508000"/>
                <a:gd name="connsiteY24" fmla="*/ 0 h 508000"/>
                <a:gd name="connsiteX25" fmla="*/ 448469 w 508000"/>
                <a:gd name="connsiteY25" fmla="*/ 0 h 508000"/>
                <a:gd name="connsiteX26" fmla="*/ 508000 w 508000"/>
                <a:gd name="connsiteY26" fmla="*/ 317500 h 508000"/>
                <a:gd name="connsiteX27" fmla="*/ 480219 w 508000"/>
                <a:gd name="connsiteY27" fmla="*/ 508000 h 508000"/>
                <a:gd name="connsiteX28" fmla="*/ 31750 w 508000"/>
                <a:gd name="connsiteY28" fmla="*/ 508000 h 508000"/>
                <a:gd name="connsiteX29" fmla="*/ 0 w 508000"/>
                <a:gd name="connsiteY29" fmla="*/ 3175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08000" h="508000">
                  <a:moveTo>
                    <a:pt x="158750" y="345281"/>
                  </a:moveTo>
                  <a:lnTo>
                    <a:pt x="158750" y="377031"/>
                  </a:lnTo>
                  <a:lnTo>
                    <a:pt x="349250" y="377031"/>
                  </a:lnTo>
                  <a:lnTo>
                    <a:pt x="349250" y="345281"/>
                  </a:lnTo>
                  <a:close/>
                  <a:moveTo>
                    <a:pt x="99219" y="257969"/>
                  </a:moveTo>
                  <a:lnTo>
                    <a:pt x="416719" y="257969"/>
                  </a:lnTo>
                  <a:lnTo>
                    <a:pt x="416719" y="285750"/>
                  </a:lnTo>
                  <a:lnTo>
                    <a:pt x="99219" y="285750"/>
                  </a:lnTo>
                  <a:close/>
                  <a:moveTo>
                    <a:pt x="99219" y="186531"/>
                  </a:moveTo>
                  <a:lnTo>
                    <a:pt x="416719" y="186531"/>
                  </a:lnTo>
                  <a:lnTo>
                    <a:pt x="416719" y="218281"/>
                  </a:lnTo>
                  <a:lnTo>
                    <a:pt x="99219" y="218281"/>
                  </a:lnTo>
                  <a:close/>
                  <a:moveTo>
                    <a:pt x="130969" y="127000"/>
                  </a:moveTo>
                  <a:lnTo>
                    <a:pt x="377032" y="127000"/>
                  </a:lnTo>
                  <a:lnTo>
                    <a:pt x="377032" y="158750"/>
                  </a:lnTo>
                  <a:lnTo>
                    <a:pt x="130969" y="158750"/>
                  </a:lnTo>
                  <a:close/>
                  <a:moveTo>
                    <a:pt x="130969" y="59531"/>
                  </a:moveTo>
                  <a:lnTo>
                    <a:pt x="377032" y="59531"/>
                  </a:lnTo>
                  <a:lnTo>
                    <a:pt x="377032" y="99219"/>
                  </a:lnTo>
                  <a:lnTo>
                    <a:pt x="130969" y="99219"/>
                  </a:lnTo>
                  <a:close/>
                  <a:moveTo>
                    <a:pt x="99219" y="27781"/>
                  </a:moveTo>
                  <a:lnTo>
                    <a:pt x="31750" y="317500"/>
                  </a:lnTo>
                  <a:lnTo>
                    <a:pt x="480219" y="317500"/>
                  </a:lnTo>
                  <a:lnTo>
                    <a:pt x="416719" y="27781"/>
                  </a:lnTo>
                  <a:close/>
                  <a:moveTo>
                    <a:pt x="59531" y="0"/>
                  </a:moveTo>
                  <a:lnTo>
                    <a:pt x="448469" y="0"/>
                  </a:lnTo>
                  <a:lnTo>
                    <a:pt x="508000" y="317500"/>
                  </a:lnTo>
                  <a:lnTo>
                    <a:pt x="480219" y="508000"/>
                  </a:lnTo>
                  <a:lnTo>
                    <a:pt x="31750" y="508000"/>
                  </a:lnTo>
                  <a:lnTo>
                    <a:pt x="0" y="3175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xmlns="" id="{32888C7D-05E0-4859-B1BD-6D1E6BA1B498}"/>
              </a:ext>
            </a:extLst>
          </p:cNvPr>
          <p:cNvGrpSpPr/>
          <p:nvPr/>
        </p:nvGrpSpPr>
        <p:grpSpPr>
          <a:xfrm>
            <a:off x="4827567" y="3725660"/>
            <a:ext cx="6083321" cy="771622"/>
            <a:chOff x="5000287" y="2550161"/>
            <a:chExt cx="6083321" cy="771622"/>
          </a:xfrm>
        </p:grpSpPr>
        <p:sp>
          <p:nvSpPr>
            <p:cNvPr id="19" name="iṡ1iḋe">
              <a:extLst>
                <a:ext uri="{FF2B5EF4-FFF2-40B4-BE49-F238E27FC236}">
                  <a16:creationId xmlns:a16="http://schemas.microsoft.com/office/drawing/2014/main" xmlns="" id="{3105A7C0-8325-4D7E-B2FA-AC581118479E}"/>
                </a:ext>
              </a:extLst>
            </p:cNvPr>
            <p:cNvSpPr/>
            <p:nvPr/>
          </p:nvSpPr>
          <p:spPr bwMode="auto">
            <a:xfrm>
              <a:off x="5000287" y="2550161"/>
              <a:ext cx="888887" cy="766282"/>
            </a:xfrm>
            <a:prstGeom prst="hexagon">
              <a:avLst/>
            </a:prstGeom>
            <a:solidFill>
              <a:srgbClr val="076658"/>
            </a:solidFill>
            <a:ln w="19050">
              <a:noFill/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altLang="zh-CN" sz="1200" dirty="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0" name="íṡḷïďé">
              <a:extLst>
                <a:ext uri="{FF2B5EF4-FFF2-40B4-BE49-F238E27FC236}">
                  <a16:creationId xmlns:a16="http://schemas.microsoft.com/office/drawing/2014/main" xmlns="" id="{C7C69F4E-8C93-4714-8E3B-2CD564928163}"/>
                </a:ext>
              </a:extLst>
            </p:cNvPr>
            <p:cNvSpPr/>
            <p:nvPr/>
          </p:nvSpPr>
          <p:spPr bwMode="auto">
            <a:xfrm>
              <a:off x="6030202" y="2555501"/>
              <a:ext cx="5053406" cy="766282"/>
            </a:xfrm>
            <a:prstGeom prst="hexagon">
              <a:avLst/>
            </a:prstGeom>
            <a:solidFill>
              <a:srgbClr val="076658"/>
            </a:solidFill>
            <a:ln w="19050">
              <a:noFill/>
              <a:round/>
              <a:headEnd/>
              <a:tailEnd/>
            </a:ln>
          </p:spPr>
          <p:txBody>
            <a:bodyPr rot="0" spcFirstLastPara="0" vert="horz" wrap="square" lIns="91440" tIns="45720" rIns="91440" bIns="45720" anchor="ctr" anchorCtr="1" forceAA="0" compatLnSpc="1">
              <a:prstTxWarp prst="textNoShape">
                <a:avLst/>
              </a:prstTxWarp>
              <a:normAutofit/>
            </a:bodyPr>
            <a:lstStyle/>
            <a:p>
              <a:pPr algn="ctr">
                <a:lnSpc>
                  <a:spcPct val="120000"/>
                </a:lnSpc>
              </a:pPr>
              <a:endParaRPr lang="zh-CN" altLang="en-US" sz="1200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</p:grpSp>
      <p:sp>
        <p:nvSpPr>
          <p:cNvPr id="2" name="文本框 1">
            <a:extLst>
              <a:ext uri="{FF2B5EF4-FFF2-40B4-BE49-F238E27FC236}">
                <a16:creationId xmlns:a16="http://schemas.microsoft.com/office/drawing/2014/main" xmlns="" id="{C56959FE-E7E9-49B3-8903-E907CED555BB}"/>
              </a:ext>
            </a:extLst>
          </p:cNvPr>
          <p:cNvSpPr txBox="1"/>
          <p:nvPr/>
        </p:nvSpPr>
        <p:spPr>
          <a:xfrm>
            <a:off x="4992610" y="2419194"/>
            <a:ext cx="558800" cy="5847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>
                <a:solidFill>
                  <a:schemeClr val="bg1">
                    <a:lumMod val="85000"/>
                  </a:schemeClr>
                </a:solidFill>
                <a:latin typeface="Britannic Bold" panose="020B0903060703020204" pitchFamily="34" charset="0"/>
              </a:rPr>
              <a:t>1</a:t>
            </a:r>
            <a:endParaRPr lang="zh-CN" altLang="en-US" sz="3200" dirty="0">
              <a:solidFill>
                <a:schemeClr val="bg1">
                  <a:lumMod val="85000"/>
                </a:schemeClr>
              </a:solidFill>
              <a:latin typeface="Britannic Bold" panose="020B090306070302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xmlns="" id="{E6712D56-82F4-4A26-96E8-9B822CD9A31C}"/>
              </a:ext>
            </a:extLst>
          </p:cNvPr>
          <p:cNvSpPr txBox="1"/>
          <p:nvPr/>
        </p:nvSpPr>
        <p:spPr>
          <a:xfrm>
            <a:off x="6309360" y="2444497"/>
            <a:ext cx="3841344" cy="52322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chemeClr val="bg1">
                    <a:lumMod val="85000"/>
                  </a:schemeClr>
                </a:solidFill>
              </a:rPr>
              <a:t>新生预报到流程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xmlns="" id="{7B4EB677-A134-4026-BA6A-759CD10E7A82}"/>
              </a:ext>
            </a:extLst>
          </p:cNvPr>
          <p:cNvSpPr txBox="1"/>
          <p:nvPr/>
        </p:nvSpPr>
        <p:spPr>
          <a:xfrm>
            <a:off x="4992610" y="3816413"/>
            <a:ext cx="558800" cy="5847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>
                <a:solidFill>
                  <a:schemeClr val="bg1"/>
                </a:solidFill>
                <a:latin typeface="Britannic Bold" panose="020B0903060703020204" pitchFamily="34" charset="0"/>
              </a:rPr>
              <a:t>2</a:t>
            </a:r>
            <a:endParaRPr lang="zh-CN" altLang="en-US" sz="3200" dirty="0">
              <a:solidFill>
                <a:schemeClr val="bg1"/>
              </a:solidFill>
              <a:latin typeface="Britannic Bold" panose="020B0903060703020204" pitchFamily="34" charset="0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xmlns="" id="{E9410349-E8D0-44C5-B60E-042F707B4B95}"/>
              </a:ext>
            </a:extLst>
          </p:cNvPr>
          <p:cNvSpPr txBox="1"/>
          <p:nvPr/>
        </p:nvSpPr>
        <p:spPr>
          <a:xfrm>
            <a:off x="6309360" y="3847190"/>
            <a:ext cx="3841344" cy="52322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</a:rPr>
              <a:t>易班注册认证流程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58585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ight-arrowheads_44810">
            <a:extLst>
              <a:ext uri="{FF2B5EF4-FFF2-40B4-BE49-F238E27FC236}">
                <a16:creationId xmlns:a16="http://schemas.microsoft.com/office/drawing/2014/main" xmlns="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xmlns="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xmlns="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:a16="http://schemas.microsoft.com/office/drawing/2014/main" xmlns="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A7C38575-11C0-4B54-B8A5-F99A0DD5CEE4}"/>
              </a:ext>
            </a:extLst>
          </p:cNvPr>
          <p:cNvSpPr txBox="1"/>
          <p:nvPr/>
        </p:nvSpPr>
        <p:spPr>
          <a:xfrm>
            <a:off x="744238" y="210888"/>
            <a:ext cx="81965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易班注册认证流程 </a:t>
            </a:r>
            <a:r>
              <a:rPr lang="en-US" altLang="zh-CN" sz="2400" b="1" dirty="0"/>
              <a:t>—— </a:t>
            </a:r>
            <a:r>
              <a:rPr lang="zh-CN" altLang="en-US" sz="2400" b="1" dirty="0"/>
              <a:t>“易班迎新“信息采集及现场报到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xmlns="" id="{0DA8AF7B-0459-4B07-A271-39266A7AD189}"/>
              </a:ext>
            </a:extLst>
          </p:cNvPr>
          <p:cNvGrpSpPr/>
          <p:nvPr/>
        </p:nvGrpSpPr>
        <p:grpSpPr>
          <a:xfrm>
            <a:off x="430654" y="1060711"/>
            <a:ext cx="3381270" cy="1960514"/>
            <a:chOff x="572894" y="1200313"/>
            <a:chExt cx="3381270" cy="1960514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xmlns="" id="{BFF85CD1-90EE-4B42-AC77-470F22756DB0}"/>
                </a:ext>
              </a:extLst>
            </p:cNvPr>
            <p:cNvSpPr/>
            <p:nvPr/>
          </p:nvSpPr>
          <p:spPr>
            <a:xfrm>
              <a:off x="1152657" y="1406501"/>
              <a:ext cx="2801506" cy="1754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en-US" dirty="0"/>
                <a:t>获得</a:t>
              </a:r>
              <a:r>
                <a:rPr lang="zh-CN" altLang="en-US" b="1" dirty="0">
                  <a:solidFill>
                    <a:srgbClr val="FF0000"/>
                  </a:solidFill>
                </a:rPr>
                <a:t>个人学号</a:t>
              </a:r>
              <a:r>
                <a:rPr lang="zh-CN" altLang="en-US" dirty="0"/>
                <a:t>后</a:t>
              </a:r>
              <a:r>
                <a:rPr lang="zh-CN" altLang="en-US" b="1" dirty="0">
                  <a:solidFill>
                    <a:srgbClr val="FF0000"/>
                  </a:solidFill>
                </a:rPr>
                <a:t>下载易班</a:t>
              </a:r>
              <a:r>
                <a:rPr lang="en-US" altLang="zh-CN" b="1" dirty="0">
                  <a:solidFill>
                    <a:srgbClr val="FF0000"/>
                  </a:solidFill>
                </a:rPr>
                <a:t>APP</a:t>
              </a:r>
              <a:r>
                <a:rPr lang="zh-CN" altLang="en-US" dirty="0"/>
                <a:t>，点击</a:t>
              </a:r>
              <a:r>
                <a:rPr lang="zh-CN" altLang="en-US" b="1" dirty="0">
                  <a:solidFill>
                    <a:srgbClr val="FF0000"/>
                  </a:solidFill>
                </a:rPr>
                <a:t>新用户注册</a:t>
              </a:r>
              <a:r>
                <a:rPr lang="zh-CN" altLang="en-US" dirty="0"/>
                <a:t>。输入手机号，点击下一步，接收短信验证码。</a:t>
              </a:r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:a16="http://schemas.microsoft.com/office/drawing/2014/main" xmlns="" id="{FAC48B10-3E3F-4329-A340-72B34F638CF1}"/>
                </a:ext>
              </a:extLst>
            </p:cNvPr>
            <p:cNvSpPr/>
            <p:nvPr/>
          </p:nvSpPr>
          <p:spPr>
            <a:xfrm>
              <a:off x="891027" y="1428401"/>
              <a:ext cx="3063137" cy="1704954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>
              <a:extLst>
                <a:ext uri="{FF2B5EF4-FFF2-40B4-BE49-F238E27FC236}">
                  <a16:creationId xmlns:a16="http://schemas.microsoft.com/office/drawing/2014/main" xmlns="" id="{3B5A4910-0DB7-4CF6-891A-6DCA6C014C89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xmlns="" id="{3C5E8394-58B6-4996-8C0A-81CCA8244566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xmlns="" id="{C4C16DBD-8290-4A6F-AD7B-F147F847912D}"/>
              </a:ext>
            </a:extLst>
          </p:cNvPr>
          <p:cNvGrpSpPr/>
          <p:nvPr/>
        </p:nvGrpSpPr>
        <p:grpSpPr>
          <a:xfrm>
            <a:off x="4369925" y="1060711"/>
            <a:ext cx="3381270" cy="1960514"/>
            <a:chOff x="572894" y="1200313"/>
            <a:chExt cx="3381270" cy="1960514"/>
          </a:xfrm>
        </p:grpSpPr>
        <p:sp>
          <p:nvSpPr>
            <p:cNvPr id="45" name="矩形 44">
              <a:extLst>
                <a:ext uri="{FF2B5EF4-FFF2-40B4-BE49-F238E27FC236}">
                  <a16:creationId xmlns:a16="http://schemas.microsoft.com/office/drawing/2014/main" xmlns="" id="{F5FC4608-B322-4F36-911B-C2318106C58D}"/>
                </a:ext>
              </a:extLst>
            </p:cNvPr>
            <p:cNvSpPr/>
            <p:nvPr/>
          </p:nvSpPr>
          <p:spPr>
            <a:xfrm>
              <a:off x="1152657" y="1406501"/>
              <a:ext cx="2801507" cy="1754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en-US" dirty="0"/>
                <a:t>进入</a:t>
              </a:r>
              <a:r>
                <a:rPr lang="zh-CN" altLang="en-US" b="1" dirty="0">
                  <a:solidFill>
                    <a:srgbClr val="FF0000"/>
                  </a:solidFill>
                </a:rPr>
                <a:t>完善资料</a:t>
              </a:r>
              <a:r>
                <a:rPr lang="zh-CN" altLang="en-US" dirty="0"/>
                <a:t>页面，填写昵称、学校与学院等信息后，点击马上去</a:t>
              </a:r>
              <a:r>
                <a:rPr lang="zh-CN" altLang="en-US" b="1" dirty="0">
                  <a:solidFill>
                    <a:srgbClr val="FF0000"/>
                  </a:solidFill>
                </a:rPr>
                <a:t>校方认证</a:t>
              </a:r>
              <a:r>
                <a:rPr lang="zh-CN" altLang="en-US" dirty="0"/>
                <a:t>按钮进行校方认证。</a:t>
              </a:r>
            </a:p>
          </p:txBody>
        </p:sp>
        <p:sp>
          <p:nvSpPr>
            <p:cNvPr id="46" name="矩形: 圆角 45">
              <a:extLst>
                <a:ext uri="{FF2B5EF4-FFF2-40B4-BE49-F238E27FC236}">
                  <a16:creationId xmlns:a16="http://schemas.microsoft.com/office/drawing/2014/main" xmlns="" id="{72A96CED-79A4-4812-8CD5-6903BABFDC7B}"/>
                </a:ext>
              </a:extLst>
            </p:cNvPr>
            <p:cNvSpPr/>
            <p:nvPr/>
          </p:nvSpPr>
          <p:spPr>
            <a:xfrm>
              <a:off x="891027" y="1428401"/>
              <a:ext cx="3063137" cy="1704954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7" name="椭圆 46">
              <a:extLst>
                <a:ext uri="{FF2B5EF4-FFF2-40B4-BE49-F238E27FC236}">
                  <a16:creationId xmlns:a16="http://schemas.microsoft.com/office/drawing/2014/main" xmlns="" id="{57D9DC57-C8C1-4FD5-AB14-091717F99E0D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xmlns="" id="{E445E67B-C2EF-4424-B180-8CBC5B6ABE1D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组合 48">
            <a:extLst>
              <a:ext uri="{FF2B5EF4-FFF2-40B4-BE49-F238E27FC236}">
                <a16:creationId xmlns:a16="http://schemas.microsoft.com/office/drawing/2014/main" xmlns="" id="{785F9203-D269-43B5-B71D-8E386F460242}"/>
              </a:ext>
            </a:extLst>
          </p:cNvPr>
          <p:cNvGrpSpPr/>
          <p:nvPr/>
        </p:nvGrpSpPr>
        <p:grpSpPr>
          <a:xfrm>
            <a:off x="8309197" y="1060711"/>
            <a:ext cx="3381270" cy="1933042"/>
            <a:chOff x="572894" y="1200313"/>
            <a:chExt cx="3381270" cy="1933042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xmlns="" id="{87CA2CA8-F51F-4E43-8A21-9A177575F1C8}"/>
                </a:ext>
              </a:extLst>
            </p:cNvPr>
            <p:cNvSpPr/>
            <p:nvPr/>
          </p:nvSpPr>
          <p:spPr>
            <a:xfrm>
              <a:off x="1152657" y="1406501"/>
              <a:ext cx="2801507" cy="17049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dirty="0"/>
                <a:t>填写学校、真实姓名等相关信息，进行</a:t>
              </a:r>
              <a:r>
                <a:rPr lang="zh-CN" altLang="en-US" b="1" dirty="0">
                  <a:solidFill>
                    <a:srgbClr val="FF0000"/>
                  </a:solidFill>
                </a:rPr>
                <a:t>校方认证</a:t>
              </a:r>
              <a:r>
                <a:rPr lang="zh-CN" altLang="en-US" dirty="0"/>
                <a:t>。填写完毕后点击下方完成按钮即可。</a:t>
              </a:r>
            </a:p>
          </p:txBody>
        </p:sp>
        <p:sp>
          <p:nvSpPr>
            <p:cNvPr id="51" name="矩形: 圆角 50">
              <a:extLst>
                <a:ext uri="{FF2B5EF4-FFF2-40B4-BE49-F238E27FC236}">
                  <a16:creationId xmlns:a16="http://schemas.microsoft.com/office/drawing/2014/main" xmlns="" id="{1077A491-06D9-427A-BC6D-6ACF1E6C33A9}"/>
                </a:ext>
              </a:extLst>
            </p:cNvPr>
            <p:cNvSpPr/>
            <p:nvPr/>
          </p:nvSpPr>
          <p:spPr>
            <a:xfrm>
              <a:off x="891027" y="1428401"/>
              <a:ext cx="3063137" cy="1704954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2" name="椭圆 51">
              <a:extLst>
                <a:ext uri="{FF2B5EF4-FFF2-40B4-BE49-F238E27FC236}">
                  <a16:creationId xmlns:a16="http://schemas.microsoft.com/office/drawing/2014/main" xmlns="" id="{7C5BA0D8-7703-4538-B28E-07A0DF3BE444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xmlns="" id="{CC1F596D-14DB-4724-A27A-77A785DDCF13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32" name="图片 31" descr="qq_pic_merged_1624522045035">
            <a:extLst>
              <a:ext uri="{FF2B5EF4-FFF2-40B4-BE49-F238E27FC236}">
                <a16:creationId xmlns:a16="http://schemas.microsoft.com/office/drawing/2014/main" xmlns="" id="{0487791F-4905-47E4-85F7-4E1362ACCC0C}"/>
              </a:ext>
            </a:extLst>
          </p:cNvPr>
          <p:cNvPicPr/>
          <p:nvPr/>
        </p:nvPicPr>
        <p:blipFill rotWithShape="1">
          <a:blip r:embed="rId6"/>
          <a:srcRect b="15171"/>
          <a:stretch/>
        </p:blipFill>
        <p:spPr>
          <a:xfrm>
            <a:off x="1061332" y="3221842"/>
            <a:ext cx="2438045" cy="276287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7" name="图片 36" descr="qq_pic_merged_1624522123945">
            <a:extLst>
              <a:ext uri="{FF2B5EF4-FFF2-40B4-BE49-F238E27FC236}">
                <a16:creationId xmlns:a16="http://schemas.microsoft.com/office/drawing/2014/main" xmlns="" id="{20CA6233-4AE9-40C7-B944-36814EB3DD4D}"/>
              </a:ext>
            </a:extLst>
          </p:cNvPr>
          <p:cNvPicPr/>
          <p:nvPr/>
        </p:nvPicPr>
        <p:blipFill rotWithShape="1">
          <a:blip r:embed="rId7"/>
          <a:srcRect b="13936"/>
          <a:stretch/>
        </p:blipFill>
        <p:spPr>
          <a:xfrm>
            <a:off x="5000603" y="3221843"/>
            <a:ext cx="2438045" cy="276287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图片 37" descr="qq_pic_merged_1624522058509">
            <a:extLst>
              <a:ext uri="{FF2B5EF4-FFF2-40B4-BE49-F238E27FC236}">
                <a16:creationId xmlns:a16="http://schemas.microsoft.com/office/drawing/2014/main" xmlns="" id="{4C630017-BDF1-448A-8FB3-0BCC28160961}"/>
              </a:ext>
            </a:extLst>
          </p:cNvPr>
          <p:cNvPicPr/>
          <p:nvPr/>
        </p:nvPicPr>
        <p:blipFill rotWithShape="1">
          <a:blip r:embed="rId8"/>
          <a:srcRect b="13936"/>
          <a:stretch/>
        </p:blipFill>
        <p:spPr>
          <a:xfrm>
            <a:off x="9014889" y="3221841"/>
            <a:ext cx="2288018" cy="276287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xmlns="" id="{F2A725F8-3057-44E9-9714-F8626AF46515}"/>
              </a:ext>
            </a:extLst>
          </p:cNvPr>
          <p:cNvSpPr/>
          <p:nvPr/>
        </p:nvSpPr>
        <p:spPr>
          <a:xfrm>
            <a:off x="-1" y="6285116"/>
            <a:ext cx="12191999" cy="5728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xmlns="" id="{9175E409-2CD7-474E-AAAD-948ABE9FE57A}"/>
              </a:ext>
            </a:extLst>
          </p:cNvPr>
          <p:cNvSpPr/>
          <p:nvPr/>
        </p:nvSpPr>
        <p:spPr>
          <a:xfrm>
            <a:off x="-2" y="6371503"/>
            <a:ext cx="12192001" cy="40011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zh-CN" altLang="zh-CN" sz="20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注意</a:t>
            </a:r>
            <a:r>
              <a:rPr lang="en-US" altLang="zh-CN" sz="20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: </a:t>
            </a:r>
            <a:r>
              <a:rPr lang="zh-CN" altLang="zh-CN" sz="2000" b="1" kern="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本研一体班开学前仍选择原专业所在学院、理科实验班选择理学院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34803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ight-arrowheads_44810">
            <a:extLst>
              <a:ext uri="{FF2B5EF4-FFF2-40B4-BE49-F238E27FC236}">
                <a16:creationId xmlns:a16="http://schemas.microsoft.com/office/drawing/2014/main" xmlns="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xmlns="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:a16="http://schemas.microsoft.com/office/drawing/2014/main" xmlns="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xmlns="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:a16="http://schemas.microsoft.com/office/drawing/2014/main" xmlns="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xmlns="" id="{A7C38575-11C0-4B54-B8A5-F99A0DD5CEE4}"/>
              </a:ext>
            </a:extLst>
          </p:cNvPr>
          <p:cNvSpPr txBox="1"/>
          <p:nvPr/>
        </p:nvSpPr>
        <p:spPr>
          <a:xfrm>
            <a:off x="744238" y="210888"/>
            <a:ext cx="30454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/>
              <a:t>易班使用说明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xmlns="" id="{D2A3F6DC-1794-4D97-9B62-369A20360F91}"/>
              </a:ext>
            </a:extLst>
          </p:cNvPr>
          <p:cNvSpPr txBox="1"/>
          <p:nvPr/>
        </p:nvSpPr>
        <p:spPr>
          <a:xfrm>
            <a:off x="873456" y="5417478"/>
            <a:ext cx="9831736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/>
              <a:t>PC</a:t>
            </a:r>
            <a:r>
              <a:rPr lang="zh-CN" altLang="en-US" dirty="0"/>
              <a:t>端：</a:t>
            </a:r>
            <a:r>
              <a:rPr lang="en-US" altLang="zh-CN" dirty="0">
                <a:hlinkClick r:id="rId6"/>
              </a:rPr>
              <a:t>https://www.yooc.me/group/528833#invitation=JF9H3S52</a:t>
            </a:r>
            <a:r>
              <a:rPr lang="en-US" altLang="zh-CN" dirty="0"/>
              <a:t> </a:t>
            </a:r>
            <a:endParaRPr lang="en-US" altLang="zh-CN" dirty="0">
              <a:latin typeface="+mn-ea"/>
              <a:hlinkClick r:id="rId7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移动端：</a:t>
            </a:r>
            <a:r>
              <a:rPr lang="en-US" altLang="zh-CN" dirty="0"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r>
              <a:rPr lang="en-US" altLang="zh-CN" dirty="0">
                <a:hlinkClick r:id="rId8"/>
              </a:rPr>
              <a:t>https://www.yooc.me/mobile/group/528833/index#invitation=JF9H3S52</a:t>
            </a:r>
            <a:endParaRPr lang="en-US" altLang="zh-CN" dirty="0"/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xmlns="" id="{E9703B3F-2ED8-487D-A0BA-68C9B41F8A28}"/>
              </a:ext>
            </a:extLst>
          </p:cNvPr>
          <p:cNvGrpSpPr/>
          <p:nvPr/>
        </p:nvGrpSpPr>
        <p:grpSpPr>
          <a:xfrm>
            <a:off x="636157" y="1214105"/>
            <a:ext cx="10728291" cy="804444"/>
            <a:chOff x="627280" y="1235371"/>
            <a:chExt cx="10728291" cy="804444"/>
          </a:xfrm>
        </p:grpSpPr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xmlns="" id="{F295E41F-81DC-4757-B25C-52EE80089208}"/>
                </a:ext>
              </a:extLst>
            </p:cNvPr>
            <p:cNvSpPr txBox="1"/>
            <p:nvPr/>
          </p:nvSpPr>
          <p:spPr>
            <a:xfrm>
              <a:off x="1523835" y="1461788"/>
              <a:ext cx="98317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/>
                <a:t>易班注册认证过程遇到问题，可加入“石大</a:t>
              </a:r>
              <a:r>
                <a:rPr lang="en-US" altLang="zh-CN" dirty="0"/>
                <a:t>21</a:t>
              </a:r>
              <a:r>
                <a:rPr lang="zh-CN" altLang="en-US" dirty="0"/>
                <a:t>级迎新群”“咨询，群号：</a:t>
              </a:r>
              <a:r>
                <a:rPr lang="en-US" altLang="zh-CN" b="1" dirty="0">
                  <a:solidFill>
                    <a:srgbClr val="FF0000"/>
                  </a:solidFill>
                </a:rPr>
                <a:t>523026725</a:t>
              </a:r>
              <a:r>
                <a:rPr lang="zh-CN" altLang="en-US" dirty="0"/>
                <a:t>。</a:t>
              </a:r>
              <a:endParaRPr lang="en-US" altLang="zh-CN" dirty="0"/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xmlns="" id="{AD298BDE-B4F1-46F9-9DB3-BE7B39F8CFBB}"/>
                </a:ext>
              </a:extLst>
            </p:cNvPr>
            <p:cNvGrpSpPr/>
            <p:nvPr/>
          </p:nvGrpSpPr>
          <p:grpSpPr>
            <a:xfrm>
              <a:off x="627280" y="1235371"/>
              <a:ext cx="10728291" cy="804444"/>
              <a:chOff x="737298" y="3519250"/>
              <a:chExt cx="10728291" cy="804444"/>
            </a:xfrm>
          </p:grpSpPr>
          <p:grpSp>
            <p:nvGrpSpPr>
              <p:cNvPr id="56" name="组合 55">
                <a:extLst>
                  <a:ext uri="{FF2B5EF4-FFF2-40B4-BE49-F238E27FC236}">
                    <a16:creationId xmlns:a16="http://schemas.microsoft.com/office/drawing/2014/main" xmlns="" id="{7086F039-7D1E-4C3A-AD98-607958A81DF7}"/>
                  </a:ext>
                </a:extLst>
              </p:cNvPr>
              <p:cNvGrpSpPr/>
              <p:nvPr/>
            </p:nvGrpSpPr>
            <p:grpSpPr>
              <a:xfrm>
                <a:off x="737298" y="3519250"/>
                <a:ext cx="10728291" cy="804444"/>
                <a:chOff x="762536" y="4895028"/>
                <a:chExt cx="12888235" cy="966405"/>
              </a:xfrm>
            </p:grpSpPr>
            <p:sp>
              <p:nvSpPr>
                <p:cNvPr id="57" name="矩形: 圆角 56">
                  <a:extLst>
                    <a:ext uri="{FF2B5EF4-FFF2-40B4-BE49-F238E27FC236}">
                      <a16:creationId xmlns:a16="http://schemas.microsoft.com/office/drawing/2014/main" xmlns="" id="{F23BFC6C-9F0D-4152-A1BD-22DB3A21CEC5}"/>
                    </a:ext>
                  </a:extLst>
                </p:cNvPr>
                <p:cNvSpPr/>
                <p:nvPr/>
              </p:nvSpPr>
              <p:spPr>
                <a:xfrm>
                  <a:off x="1244960" y="4916318"/>
                  <a:ext cx="12405811" cy="945115"/>
                </a:xfrm>
                <a:prstGeom prst="roundRect">
                  <a:avLst/>
                </a:prstGeom>
                <a:noFill/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sp>
              <p:nvSpPr>
                <p:cNvPr id="58" name="椭圆 57">
                  <a:extLst>
                    <a:ext uri="{FF2B5EF4-FFF2-40B4-BE49-F238E27FC236}">
                      <a16:creationId xmlns:a16="http://schemas.microsoft.com/office/drawing/2014/main" xmlns="" id="{498C89C0-EEBB-4431-A29D-2AFB5A1186C5}"/>
                    </a:ext>
                  </a:extLst>
                </p:cNvPr>
                <p:cNvSpPr/>
                <p:nvPr/>
              </p:nvSpPr>
              <p:spPr>
                <a:xfrm>
                  <a:off x="762536" y="4895028"/>
                  <a:ext cx="955039" cy="955040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59" name="文本框 58">
                <a:extLst>
                  <a:ext uri="{FF2B5EF4-FFF2-40B4-BE49-F238E27FC236}">
                    <a16:creationId xmlns:a16="http://schemas.microsoft.com/office/drawing/2014/main" xmlns="" id="{2F42EBF9-F251-4735-9E76-99C3561918FD}"/>
                  </a:ext>
                </a:extLst>
              </p:cNvPr>
              <p:cNvSpPr txBox="1"/>
              <p:nvPr/>
            </p:nvSpPr>
            <p:spPr>
              <a:xfrm>
                <a:off x="972230" y="3668723"/>
                <a:ext cx="325120" cy="523220"/>
              </a:xfrm>
              <a:prstGeom prst="rect">
                <a:avLst/>
              </a:prstGeom>
              <a:noFill/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/>
                    </a:solidFill>
                    <a:latin typeface="+mn-ea"/>
                  </a:rPr>
                  <a:t>1</a:t>
                </a:r>
                <a:endParaRPr lang="zh-CN" altLang="en-US" sz="2800" b="1" dirty="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xmlns="" id="{7880A5F9-D319-46DB-894E-268B725EA9AE}"/>
              </a:ext>
            </a:extLst>
          </p:cNvPr>
          <p:cNvGrpSpPr/>
          <p:nvPr/>
        </p:nvGrpSpPr>
        <p:grpSpPr>
          <a:xfrm>
            <a:off x="636157" y="2366101"/>
            <a:ext cx="10728291" cy="804444"/>
            <a:chOff x="627280" y="2345473"/>
            <a:chExt cx="10728291" cy="804444"/>
          </a:xfrm>
        </p:grpSpPr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xmlns="" id="{F3BB56D7-4FC8-4FC2-AA83-242477591A6D}"/>
                </a:ext>
              </a:extLst>
            </p:cNvPr>
            <p:cNvSpPr txBox="1"/>
            <p:nvPr/>
          </p:nvSpPr>
          <p:spPr>
            <a:xfrm>
              <a:off x="1523835" y="2378698"/>
              <a:ext cx="9831736" cy="728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易班开设“</a:t>
              </a:r>
              <a:r>
                <a:rPr lang="zh-CN" altLang="en-US" b="1" dirty="0">
                  <a:solidFill>
                    <a:srgbClr val="FF0000"/>
                  </a:solidFill>
                </a:rPr>
                <a:t>你好，石大人</a:t>
              </a:r>
              <a:r>
                <a:rPr lang="zh-CN" altLang="en-US" dirty="0"/>
                <a:t>”迎新专栏，向新生介绍校史校情、院系专业、生活指南等信息，并开展线上“迎新嘉年华”活动，活动多多、奖品多多。迎新专栏将于</a:t>
              </a:r>
              <a:r>
                <a:rPr lang="en-US" altLang="zh-CN" b="1" dirty="0">
                  <a:solidFill>
                    <a:srgbClr val="FF0000"/>
                  </a:solidFill>
                </a:rPr>
                <a:t>8</a:t>
              </a:r>
              <a:r>
                <a:rPr lang="zh-CN" altLang="en-US" b="1" dirty="0">
                  <a:solidFill>
                    <a:srgbClr val="FF0000"/>
                  </a:solidFill>
                </a:rPr>
                <a:t>月中旬上线</a:t>
              </a:r>
              <a:r>
                <a:rPr lang="zh-CN" altLang="en-US" dirty="0"/>
                <a:t>。</a:t>
              </a:r>
              <a:endParaRPr lang="en-US" altLang="zh-CN" dirty="0"/>
            </a:p>
          </p:txBody>
        </p:sp>
        <p:grpSp>
          <p:nvGrpSpPr>
            <p:cNvPr id="60" name="组合 59">
              <a:extLst>
                <a:ext uri="{FF2B5EF4-FFF2-40B4-BE49-F238E27FC236}">
                  <a16:creationId xmlns:a16="http://schemas.microsoft.com/office/drawing/2014/main" xmlns="" id="{4FB0962D-71FA-4D98-8178-DE2D943A231F}"/>
                </a:ext>
              </a:extLst>
            </p:cNvPr>
            <p:cNvGrpSpPr/>
            <p:nvPr/>
          </p:nvGrpSpPr>
          <p:grpSpPr>
            <a:xfrm>
              <a:off x="627280" y="2345473"/>
              <a:ext cx="10728291" cy="804444"/>
              <a:chOff x="737298" y="3519250"/>
              <a:chExt cx="10618273" cy="804444"/>
            </a:xfrm>
          </p:grpSpPr>
          <p:grpSp>
            <p:nvGrpSpPr>
              <p:cNvPr id="61" name="组合 60">
                <a:extLst>
                  <a:ext uri="{FF2B5EF4-FFF2-40B4-BE49-F238E27FC236}">
                    <a16:creationId xmlns:a16="http://schemas.microsoft.com/office/drawing/2014/main" xmlns="" id="{CC46CAEC-E317-4996-829E-274EBDF50830}"/>
                  </a:ext>
                </a:extLst>
              </p:cNvPr>
              <p:cNvGrpSpPr/>
              <p:nvPr/>
            </p:nvGrpSpPr>
            <p:grpSpPr>
              <a:xfrm>
                <a:off x="737298" y="3519250"/>
                <a:ext cx="10618273" cy="804444"/>
                <a:chOff x="762536" y="4895028"/>
                <a:chExt cx="12756067" cy="966405"/>
              </a:xfrm>
            </p:grpSpPr>
            <p:sp>
              <p:nvSpPr>
                <p:cNvPr id="63" name="矩形: 圆角 62">
                  <a:extLst>
                    <a:ext uri="{FF2B5EF4-FFF2-40B4-BE49-F238E27FC236}">
                      <a16:creationId xmlns:a16="http://schemas.microsoft.com/office/drawing/2014/main" xmlns="" id="{E8178D49-F68B-499C-8022-4F06BBBC2FFD}"/>
                    </a:ext>
                  </a:extLst>
                </p:cNvPr>
                <p:cNvSpPr/>
                <p:nvPr/>
              </p:nvSpPr>
              <p:spPr>
                <a:xfrm>
                  <a:off x="1244959" y="4916318"/>
                  <a:ext cx="12273644" cy="945115"/>
                </a:xfrm>
                <a:prstGeom prst="roundRect">
                  <a:avLst/>
                </a:prstGeom>
                <a:noFill/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64" name="椭圆 63">
                  <a:extLst>
                    <a:ext uri="{FF2B5EF4-FFF2-40B4-BE49-F238E27FC236}">
                      <a16:creationId xmlns:a16="http://schemas.microsoft.com/office/drawing/2014/main" xmlns="" id="{B4CC0A41-BE59-4ACE-99DD-3B4E3F0574B4}"/>
                    </a:ext>
                  </a:extLst>
                </p:cNvPr>
                <p:cNvSpPr/>
                <p:nvPr/>
              </p:nvSpPr>
              <p:spPr>
                <a:xfrm>
                  <a:off x="762536" y="4895028"/>
                  <a:ext cx="955039" cy="955040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62" name="文本框 61">
                <a:extLst>
                  <a:ext uri="{FF2B5EF4-FFF2-40B4-BE49-F238E27FC236}">
                    <a16:creationId xmlns:a16="http://schemas.microsoft.com/office/drawing/2014/main" xmlns="" id="{E78FA247-A267-4996-88C2-835DBCE84074}"/>
                  </a:ext>
                </a:extLst>
              </p:cNvPr>
              <p:cNvSpPr txBox="1"/>
              <p:nvPr/>
            </p:nvSpPr>
            <p:spPr>
              <a:xfrm>
                <a:off x="972230" y="3668723"/>
                <a:ext cx="325120" cy="523220"/>
              </a:xfrm>
              <a:prstGeom prst="rect">
                <a:avLst/>
              </a:prstGeom>
              <a:noFill/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/>
                    </a:solidFill>
                    <a:latin typeface="+mn-ea"/>
                  </a:rPr>
                  <a:t>2</a:t>
                </a:r>
                <a:endParaRPr lang="zh-CN" altLang="en-US" sz="2800" b="1" dirty="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grpSp>
        <p:nvGrpSpPr>
          <p:cNvPr id="65" name="组合 64">
            <a:extLst>
              <a:ext uri="{FF2B5EF4-FFF2-40B4-BE49-F238E27FC236}">
                <a16:creationId xmlns:a16="http://schemas.microsoft.com/office/drawing/2014/main" xmlns="" id="{52F67221-FCBB-42C7-B21D-2FB98B8228E3}"/>
              </a:ext>
            </a:extLst>
          </p:cNvPr>
          <p:cNvGrpSpPr/>
          <p:nvPr/>
        </p:nvGrpSpPr>
        <p:grpSpPr>
          <a:xfrm>
            <a:off x="636157" y="3518097"/>
            <a:ext cx="10728291" cy="804444"/>
            <a:chOff x="627280" y="2345473"/>
            <a:chExt cx="10728291" cy="804444"/>
          </a:xfrm>
        </p:grpSpPr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xmlns="" id="{306844C7-BBDD-42B2-921C-EF6C086564FD}"/>
                </a:ext>
              </a:extLst>
            </p:cNvPr>
            <p:cNvSpPr txBox="1"/>
            <p:nvPr/>
          </p:nvSpPr>
          <p:spPr>
            <a:xfrm>
              <a:off x="1523835" y="2378698"/>
              <a:ext cx="9831736" cy="728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dirty="0"/>
                <a:t>石大易班制作并推出优课</a:t>
              </a:r>
              <a:r>
                <a:rPr lang="en-US" altLang="zh-CN" b="1" dirty="0">
                  <a:solidFill>
                    <a:srgbClr val="FF0000"/>
                  </a:solidFill>
                </a:rPr>
                <a:t>《</a:t>
              </a:r>
              <a:r>
                <a:rPr lang="zh-CN" altLang="en-US" b="1" dirty="0">
                  <a:solidFill>
                    <a:srgbClr val="FF0000"/>
                  </a:solidFill>
                </a:rPr>
                <a:t>师说</a:t>
              </a:r>
              <a:r>
                <a:rPr lang="en-US" altLang="zh-CN" b="1" dirty="0">
                  <a:solidFill>
                    <a:srgbClr val="FF0000"/>
                  </a:solidFill>
                </a:rPr>
                <a:t>——</a:t>
              </a:r>
              <a:r>
                <a:rPr lang="zh-CN" altLang="en-US" b="1" dirty="0">
                  <a:solidFill>
                    <a:srgbClr val="FF0000"/>
                  </a:solidFill>
                </a:rPr>
                <a:t>新生入学教育</a:t>
              </a:r>
              <a:r>
                <a:rPr lang="en-US" altLang="zh-CN" b="1" dirty="0">
                  <a:solidFill>
                    <a:srgbClr val="FF0000"/>
                  </a:solidFill>
                </a:rPr>
                <a:t>》</a:t>
              </a:r>
              <a:r>
                <a:rPr lang="zh-CN" altLang="en-US" dirty="0"/>
                <a:t>，新生完成易班注册认证后通过以下方法进行学习，学习课时在入学后可以转换为</a:t>
              </a:r>
              <a:r>
                <a:rPr lang="zh-CN" altLang="en-US" b="1" dirty="0">
                  <a:solidFill>
                    <a:srgbClr val="FF0000"/>
                  </a:solidFill>
                </a:rPr>
                <a:t>第二课堂学时</a:t>
              </a:r>
              <a:r>
                <a:rPr lang="zh-CN" altLang="en-US" dirty="0"/>
                <a:t>。学习完成时间以学院通知为准。</a:t>
              </a:r>
            </a:p>
          </p:txBody>
        </p:sp>
        <p:grpSp>
          <p:nvGrpSpPr>
            <p:cNvPr id="67" name="组合 66">
              <a:extLst>
                <a:ext uri="{FF2B5EF4-FFF2-40B4-BE49-F238E27FC236}">
                  <a16:creationId xmlns:a16="http://schemas.microsoft.com/office/drawing/2014/main" xmlns="" id="{5A756F5B-7B83-49AF-829B-18EC6C45C37E}"/>
                </a:ext>
              </a:extLst>
            </p:cNvPr>
            <p:cNvGrpSpPr/>
            <p:nvPr/>
          </p:nvGrpSpPr>
          <p:grpSpPr>
            <a:xfrm>
              <a:off x="627280" y="2345473"/>
              <a:ext cx="10728291" cy="804444"/>
              <a:chOff x="737298" y="3519250"/>
              <a:chExt cx="10618273" cy="804444"/>
            </a:xfrm>
          </p:grpSpPr>
          <p:grpSp>
            <p:nvGrpSpPr>
              <p:cNvPr id="68" name="组合 67">
                <a:extLst>
                  <a:ext uri="{FF2B5EF4-FFF2-40B4-BE49-F238E27FC236}">
                    <a16:creationId xmlns:a16="http://schemas.microsoft.com/office/drawing/2014/main" xmlns="" id="{DCC8076E-1BCF-46DD-93D6-7117255906DA}"/>
                  </a:ext>
                </a:extLst>
              </p:cNvPr>
              <p:cNvGrpSpPr/>
              <p:nvPr/>
            </p:nvGrpSpPr>
            <p:grpSpPr>
              <a:xfrm>
                <a:off x="737298" y="3519250"/>
                <a:ext cx="10618273" cy="804444"/>
                <a:chOff x="762536" y="4895028"/>
                <a:chExt cx="12756067" cy="966405"/>
              </a:xfrm>
            </p:grpSpPr>
            <p:sp>
              <p:nvSpPr>
                <p:cNvPr id="70" name="矩形: 圆角 69">
                  <a:extLst>
                    <a:ext uri="{FF2B5EF4-FFF2-40B4-BE49-F238E27FC236}">
                      <a16:creationId xmlns:a16="http://schemas.microsoft.com/office/drawing/2014/main" xmlns="" id="{81A18E4E-22C1-4136-9790-2C837AC930C4}"/>
                    </a:ext>
                  </a:extLst>
                </p:cNvPr>
                <p:cNvSpPr/>
                <p:nvPr/>
              </p:nvSpPr>
              <p:spPr>
                <a:xfrm>
                  <a:off x="1244959" y="4916318"/>
                  <a:ext cx="12273644" cy="945115"/>
                </a:xfrm>
                <a:prstGeom prst="roundRect">
                  <a:avLst/>
                </a:prstGeom>
                <a:noFill/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71" name="椭圆 70">
                  <a:extLst>
                    <a:ext uri="{FF2B5EF4-FFF2-40B4-BE49-F238E27FC236}">
                      <a16:creationId xmlns:a16="http://schemas.microsoft.com/office/drawing/2014/main" xmlns="" id="{D4A95BCC-808A-4EDB-80C0-EC9A78F02BDC}"/>
                    </a:ext>
                  </a:extLst>
                </p:cNvPr>
                <p:cNvSpPr/>
                <p:nvPr/>
              </p:nvSpPr>
              <p:spPr>
                <a:xfrm>
                  <a:off x="762536" y="4895028"/>
                  <a:ext cx="955039" cy="955040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69" name="文本框 68">
                <a:extLst>
                  <a:ext uri="{FF2B5EF4-FFF2-40B4-BE49-F238E27FC236}">
                    <a16:creationId xmlns:a16="http://schemas.microsoft.com/office/drawing/2014/main" xmlns="" id="{EED5421D-54E3-4F30-9214-E0930D9DE9FA}"/>
                  </a:ext>
                </a:extLst>
              </p:cNvPr>
              <p:cNvSpPr txBox="1"/>
              <p:nvPr/>
            </p:nvSpPr>
            <p:spPr>
              <a:xfrm>
                <a:off x="972230" y="3668723"/>
                <a:ext cx="325120" cy="523220"/>
              </a:xfrm>
              <a:prstGeom prst="rect">
                <a:avLst/>
              </a:prstGeom>
              <a:noFill/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2800" b="1" dirty="0">
                    <a:solidFill>
                      <a:schemeClr val="bg1"/>
                    </a:solidFill>
                    <a:latin typeface="+mn-ea"/>
                  </a:rPr>
                  <a:t>3</a:t>
                </a:r>
                <a:endParaRPr lang="zh-CN" altLang="en-US" sz="2800" b="1" dirty="0">
                  <a:solidFill>
                    <a:schemeClr val="bg1"/>
                  </a:solidFill>
                  <a:latin typeface="+mn-ea"/>
                </a:endParaRPr>
              </a:p>
            </p:txBody>
          </p:sp>
        </p:grpSp>
      </p:grpSp>
      <p:sp>
        <p:nvSpPr>
          <p:cNvPr id="72" name="iconfont-1187-868615">
            <a:extLst>
              <a:ext uri="{FF2B5EF4-FFF2-40B4-BE49-F238E27FC236}">
                <a16:creationId xmlns:a16="http://schemas.microsoft.com/office/drawing/2014/main" xmlns="" id="{3C2B2D23-DD2E-4A90-A515-F0D4EB35B79A}"/>
              </a:ext>
            </a:extLst>
          </p:cNvPr>
          <p:cNvSpPr/>
          <p:nvPr/>
        </p:nvSpPr>
        <p:spPr>
          <a:xfrm>
            <a:off x="878297" y="4787722"/>
            <a:ext cx="402976" cy="403835"/>
          </a:xfrm>
          <a:custGeom>
            <a:avLst/>
            <a:gdLst>
              <a:gd name="T0" fmla="*/ 12123 w 12728"/>
              <a:gd name="T1" fmla="*/ 2794 h 12755"/>
              <a:gd name="T2" fmla="*/ 11574 w 12728"/>
              <a:gd name="T3" fmla="*/ 3342 h 12755"/>
              <a:gd name="T4" fmla="*/ 9386 w 12728"/>
              <a:gd name="T5" fmla="*/ 1151 h 12755"/>
              <a:gd name="T6" fmla="*/ 9932 w 12728"/>
              <a:gd name="T7" fmla="*/ 605 h 12755"/>
              <a:gd name="T8" fmla="*/ 12123 w 12728"/>
              <a:gd name="T9" fmla="*/ 605 h 12755"/>
              <a:gd name="T10" fmla="*/ 12123 w 12728"/>
              <a:gd name="T11" fmla="*/ 2794 h 12755"/>
              <a:gd name="T12" fmla="*/ 10479 w 12728"/>
              <a:gd name="T13" fmla="*/ 4436 h 12755"/>
              <a:gd name="T14" fmla="*/ 7742 w 12728"/>
              <a:gd name="T15" fmla="*/ 7169 h 12755"/>
              <a:gd name="T16" fmla="*/ 3926 w 12728"/>
              <a:gd name="T17" fmla="*/ 8827 h 12755"/>
              <a:gd name="T18" fmla="*/ 5551 w 12728"/>
              <a:gd name="T19" fmla="*/ 4980 h 12755"/>
              <a:gd name="T20" fmla="*/ 8290 w 12728"/>
              <a:gd name="T21" fmla="*/ 2245 h 12755"/>
              <a:gd name="T22" fmla="*/ 10479 w 12728"/>
              <a:gd name="T23" fmla="*/ 4436 h 12755"/>
              <a:gd name="T24" fmla="*/ 4711 w 12728"/>
              <a:gd name="T25" fmla="*/ 1735 h 12755"/>
              <a:gd name="T26" fmla="*/ 2356 w 12728"/>
              <a:gd name="T27" fmla="*/ 1735 h 12755"/>
              <a:gd name="T28" fmla="*/ 1570 w 12728"/>
              <a:gd name="T29" fmla="*/ 2522 h 12755"/>
              <a:gd name="T30" fmla="*/ 1570 w 12728"/>
              <a:gd name="T31" fmla="*/ 10392 h 12755"/>
              <a:gd name="T32" fmla="*/ 2356 w 12728"/>
              <a:gd name="T33" fmla="*/ 11179 h 12755"/>
              <a:gd name="T34" fmla="*/ 10210 w 12728"/>
              <a:gd name="T35" fmla="*/ 11179 h 12755"/>
              <a:gd name="T36" fmla="*/ 10995 w 12728"/>
              <a:gd name="T37" fmla="*/ 10392 h 12755"/>
              <a:gd name="T38" fmla="*/ 10995 w 12728"/>
              <a:gd name="T39" fmla="*/ 7245 h 12755"/>
              <a:gd name="T40" fmla="*/ 11780 w 12728"/>
              <a:gd name="T41" fmla="*/ 6458 h 12755"/>
              <a:gd name="T42" fmla="*/ 12565 w 12728"/>
              <a:gd name="T43" fmla="*/ 7245 h 12755"/>
              <a:gd name="T44" fmla="*/ 12565 w 12728"/>
              <a:gd name="T45" fmla="*/ 11181 h 12755"/>
              <a:gd name="T46" fmla="*/ 10995 w 12728"/>
              <a:gd name="T47" fmla="*/ 12755 h 12755"/>
              <a:gd name="T48" fmla="*/ 1570 w 12728"/>
              <a:gd name="T49" fmla="*/ 12755 h 12755"/>
              <a:gd name="T50" fmla="*/ 0 w 12728"/>
              <a:gd name="T51" fmla="*/ 11181 h 12755"/>
              <a:gd name="T52" fmla="*/ 0 w 12728"/>
              <a:gd name="T53" fmla="*/ 1735 h 12755"/>
              <a:gd name="T54" fmla="*/ 1570 w 12728"/>
              <a:gd name="T55" fmla="*/ 161 h 12755"/>
              <a:gd name="T56" fmla="*/ 4711 w 12728"/>
              <a:gd name="T57" fmla="*/ 161 h 12755"/>
              <a:gd name="T58" fmla="*/ 5496 w 12728"/>
              <a:gd name="T59" fmla="*/ 948 h 12755"/>
              <a:gd name="T60" fmla="*/ 4711 w 12728"/>
              <a:gd name="T61" fmla="*/ 1735 h 12755"/>
              <a:gd name="T62" fmla="*/ 4711 w 12728"/>
              <a:gd name="T63" fmla="*/ 1735 h 127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728" h="12755">
                <a:moveTo>
                  <a:pt x="12123" y="2794"/>
                </a:moveTo>
                <a:lnTo>
                  <a:pt x="11574" y="3342"/>
                </a:lnTo>
                <a:lnTo>
                  <a:pt x="9386" y="1151"/>
                </a:lnTo>
                <a:lnTo>
                  <a:pt x="9932" y="605"/>
                </a:lnTo>
                <a:cubicBezTo>
                  <a:pt x="10537" y="0"/>
                  <a:pt x="11518" y="0"/>
                  <a:pt x="12123" y="605"/>
                </a:cubicBezTo>
                <a:cubicBezTo>
                  <a:pt x="12728" y="1208"/>
                  <a:pt x="12728" y="2189"/>
                  <a:pt x="12123" y="2794"/>
                </a:cubicBezTo>
                <a:close/>
                <a:moveTo>
                  <a:pt x="10479" y="4436"/>
                </a:moveTo>
                <a:lnTo>
                  <a:pt x="7742" y="7169"/>
                </a:lnTo>
                <a:lnTo>
                  <a:pt x="3926" y="8827"/>
                </a:lnTo>
                <a:lnTo>
                  <a:pt x="5551" y="4980"/>
                </a:lnTo>
                <a:lnTo>
                  <a:pt x="8290" y="2245"/>
                </a:lnTo>
                <a:lnTo>
                  <a:pt x="10479" y="4436"/>
                </a:lnTo>
                <a:close/>
                <a:moveTo>
                  <a:pt x="4711" y="1735"/>
                </a:moveTo>
                <a:lnTo>
                  <a:pt x="2356" y="1735"/>
                </a:lnTo>
                <a:cubicBezTo>
                  <a:pt x="1921" y="1735"/>
                  <a:pt x="1570" y="2088"/>
                  <a:pt x="1570" y="2522"/>
                </a:cubicBezTo>
                <a:lnTo>
                  <a:pt x="1570" y="10392"/>
                </a:lnTo>
                <a:cubicBezTo>
                  <a:pt x="1570" y="10826"/>
                  <a:pt x="1921" y="11179"/>
                  <a:pt x="2356" y="11179"/>
                </a:cubicBezTo>
                <a:lnTo>
                  <a:pt x="10210" y="11179"/>
                </a:lnTo>
                <a:cubicBezTo>
                  <a:pt x="10644" y="11179"/>
                  <a:pt x="10995" y="10826"/>
                  <a:pt x="10995" y="10392"/>
                </a:cubicBezTo>
                <a:lnTo>
                  <a:pt x="10995" y="7245"/>
                </a:lnTo>
                <a:cubicBezTo>
                  <a:pt x="10995" y="6811"/>
                  <a:pt x="11346" y="6458"/>
                  <a:pt x="11780" y="6458"/>
                </a:cubicBezTo>
                <a:cubicBezTo>
                  <a:pt x="12214" y="6458"/>
                  <a:pt x="12565" y="6811"/>
                  <a:pt x="12565" y="7245"/>
                </a:cubicBezTo>
                <a:lnTo>
                  <a:pt x="12565" y="11181"/>
                </a:lnTo>
                <a:cubicBezTo>
                  <a:pt x="12565" y="12049"/>
                  <a:pt x="11861" y="12755"/>
                  <a:pt x="10995" y="12755"/>
                </a:cubicBezTo>
                <a:lnTo>
                  <a:pt x="1570" y="12755"/>
                </a:lnTo>
                <a:cubicBezTo>
                  <a:pt x="704" y="12755"/>
                  <a:pt x="0" y="12051"/>
                  <a:pt x="0" y="11181"/>
                </a:cubicBezTo>
                <a:lnTo>
                  <a:pt x="0" y="1735"/>
                </a:lnTo>
                <a:cubicBezTo>
                  <a:pt x="0" y="866"/>
                  <a:pt x="704" y="161"/>
                  <a:pt x="1570" y="161"/>
                </a:cubicBezTo>
                <a:lnTo>
                  <a:pt x="4711" y="161"/>
                </a:lnTo>
                <a:cubicBezTo>
                  <a:pt x="5145" y="161"/>
                  <a:pt x="5496" y="514"/>
                  <a:pt x="5496" y="948"/>
                </a:cubicBezTo>
                <a:cubicBezTo>
                  <a:pt x="5496" y="1384"/>
                  <a:pt x="5145" y="1735"/>
                  <a:pt x="4711" y="1735"/>
                </a:cubicBezTo>
                <a:close/>
                <a:moveTo>
                  <a:pt x="4711" y="1735"/>
                </a:move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xmlns="" id="{A083DBC9-C02D-4DA8-87B4-F9C0960859CF}"/>
              </a:ext>
            </a:extLst>
          </p:cNvPr>
          <p:cNvSpPr/>
          <p:nvPr/>
        </p:nvSpPr>
        <p:spPr>
          <a:xfrm>
            <a:off x="1281273" y="4822225"/>
            <a:ext cx="44922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/>
              <a:t>《</a:t>
            </a:r>
            <a:r>
              <a:rPr lang="zh-CN" altLang="en-US" dirty="0"/>
              <a:t>师说</a:t>
            </a:r>
            <a:r>
              <a:rPr lang="en-US" altLang="zh-CN" dirty="0"/>
              <a:t>——</a:t>
            </a:r>
            <a:r>
              <a:rPr lang="zh-CN" altLang="en-US" dirty="0"/>
              <a:t>新生入学教育</a:t>
            </a:r>
            <a:r>
              <a:rPr lang="en-US" altLang="zh-CN" dirty="0"/>
              <a:t>》</a:t>
            </a:r>
            <a:r>
              <a:rPr lang="zh-CN" altLang="en-US" dirty="0"/>
              <a:t>参与方式</a:t>
            </a:r>
            <a:r>
              <a:rPr lang="en-US" altLang="zh-CN" dirty="0"/>
              <a:t>:</a:t>
            </a:r>
            <a:endParaRPr lang="zh-CN" altLang="en-US" dirty="0"/>
          </a:p>
        </p:txBody>
      </p:sp>
      <p:pic>
        <p:nvPicPr>
          <p:cNvPr id="73" name="图片 72" descr="C:\Users\me-3\Documents\Tencent Files\2263187531\Image\C2C\F064158240B22F4EAB7150946CD34E26.png">
            <a:extLst>
              <a:ext uri="{FF2B5EF4-FFF2-40B4-BE49-F238E27FC236}">
                <a16:creationId xmlns:a16="http://schemas.microsoft.com/office/drawing/2014/main" xmlns="" id="{D1147A29-29CB-4D7C-802D-2D2CF4243CC2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343" y="4569728"/>
            <a:ext cx="1619006" cy="1619006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矩形 73">
            <a:extLst>
              <a:ext uri="{FF2B5EF4-FFF2-40B4-BE49-F238E27FC236}">
                <a16:creationId xmlns:a16="http://schemas.microsoft.com/office/drawing/2014/main" xmlns="" id="{58FE34B2-8BAA-41C7-AB05-2C364544E27D}"/>
              </a:ext>
            </a:extLst>
          </p:cNvPr>
          <p:cNvSpPr/>
          <p:nvPr/>
        </p:nvSpPr>
        <p:spPr>
          <a:xfrm>
            <a:off x="9596545" y="6245378"/>
            <a:ext cx="16190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/>
              <a:t>易班</a:t>
            </a:r>
            <a:r>
              <a:rPr lang="en-US" altLang="zh-CN" sz="1600" dirty="0"/>
              <a:t>APP</a:t>
            </a:r>
            <a:r>
              <a:rPr lang="zh-CN" altLang="en-US" sz="1600" dirty="0"/>
              <a:t>扫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9748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#391450;#5632;#4964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#391450;#5632;#4964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#391450;#5632;#4964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#391450;#5632;#4964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#391450;#5632;#4964;#405366;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6658"/>
      </a:accent1>
      <a:accent2>
        <a:srgbClr val="00724A"/>
      </a:accent2>
      <a:accent3>
        <a:srgbClr val="D77818"/>
      </a:accent3>
      <a:accent4>
        <a:srgbClr val="8EBDB5"/>
      </a:accent4>
      <a:accent5>
        <a:srgbClr val="E5E5E5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1</TotalTime>
  <Words>627</Words>
  <Application>Microsoft Office PowerPoint</Application>
  <PresentationFormat>宽屏</PresentationFormat>
  <Paragraphs>73</Paragraphs>
  <Slides>10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0" baseType="lpstr">
      <vt:lpstr>等线</vt:lpstr>
      <vt:lpstr>等线 Light</vt:lpstr>
      <vt:lpstr>微软雅黑</vt:lpstr>
      <vt:lpstr>Arial</vt:lpstr>
      <vt:lpstr>Britannic Bold</vt:lpstr>
      <vt:lpstr>Impact</vt:lpstr>
      <vt:lpstr>Times New Roman</vt:lpstr>
      <vt:lpstr>Office 主题​​</vt:lpstr>
      <vt:lpstr>主题5</vt:lpstr>
      <vt:lpstr>think-cell Slide</vt:lpstr>
      <vt:lpstr>2021年迎新应用使用说明（学生版）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九月，石大期待你的到来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</dc:creator>
  <cp:lastModifiedBy>me-1</cp:lastModifiedBy>
  <cp:revision>122</cp:revision>
  <dcterms:created xsi:type="dcterms:W3CDTF">2018-07-09T09:59:00Z</dcterms:created>
  <dcterms:modified xsi:type="dcterms:W3CDTF">2021-07-16T06:4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12</vt:lpwstr>
  </property>
</Properties>
</file>